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5" r:id="rId2"/>
    <p:sldMasterId id="2147483674" r:id="rId3"/>
  </p:sldMasterIdLst>
  <p:notesMasterIdLst>
    <p:notesMasterId r:id="rId15"/>
  </p:notesMasterIdLst>
  <p:handoutMasterIdLst>
    <p:handoutMasterId r:id="rId16"/>
  </p:handoutMasterIdLst>
  <p:sldIdLst>
    <p:sldId id="315" r:id="rId4"/>
    <p:sldId id="274" r:id="rId5"/>
    <p:sldId id="277" r:id="rId6"/>
    <p:sldId id="280" r:id="rId7"/>
    <p:sldId id="275" r:id="rId8"/>
    <p:sldId id="276" r:id="rId9"/>
    <p:sldId id="569" r:id="rId10"/>
    <p:sldId id="570" r:id="rId11"/>
    <p:sldId id="573" r:id="rId12"/>
    <p:sldId id="574" r:id="rId13"/>
    <p:sldId id="298" r:id="rId14"/>
  </p:sldIdLst>
  <p:sldSz cx="12188825" cy="6858000"/>
  <p:notesSz cx="6858000" cy="9144000"/>
  <p:defaultTextStyle>
    <a:defPPr>
      <a:defRPr lang="en-US"/>
    </a:defPPr>
    <a:lvl1pPr marL="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28" userDrawn="1">
          <p15:clr>
            <a:srgbClr val="A4A3A4"/>
          </p15:clr>
        </p15:guide>
        <p15:guide id="2" pos="719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FFFFFF"/>
    <a:srgbClr val="32C3FF"/>
    <a:srgbClr val="5359A7"/>
    <a:srgbClr val="A0E13B"/>
    <a:srgbClr val="B8E4CB"/>
    <a:srgbClr val="FCBA7A"/>
    <a:srgbClr val="D9D52B"/>
    <a:srgbClr val="BDA643"/>
    <a:srgbClr val="DDD9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863" autoAdjust="0"/>
    <p:restoredTop sz="94660"/>
  </p:normalViewPr>
  <p:slideViewPr>
    <p:cSldViewPr>
      <p:cViewPr varScale="1">
        <p:scale>
          <a:sx n="16" d="100"/>
          <a:sy n="16" d="100"/>
        </p:scale>
        <p:origin x="766" y="19"/>
      </p:cViewPr>
      <p:guideLst>
        <p:guide orient="horz" pos="528"/>
        <p:guide pos="719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69" d="100"/>
          <a:sy n="69" d="100"/>
        </p:scale>
        <p:origin x="1623" y="27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619739-270D-492B-B0D9-42CA138F9A59}" type="datetimeFigureOut">
              <a:rPr lang="en-IN" smtClean="0"/>
              <a:t>03-07-2020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EA3E0-8C15-486E-BE00-D0540E018469}" type="slidenum">
              <a:rPr lang="en-IN" smtClean="0"/>
              <a:t>‹Nº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0727424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B488F7-1FAC-40D2-BB7E-BA3CE28D8950}" type="datetimeFigureOut">
              <a:rPr lang="en-US" smtClean="0"/>
              <a:pPr/>
              <a:t>7/3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2D21D1-52E2-420B-B491-CFF6D7BB79F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947869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6.png"/><Relationship Id="rId18" Type="http://schemas.openxmlformats.org/officeDocument/2006/relationships/image" Target="../media/image21.png"/><Relationship Id="rId26" Type="http://schemas.openxmlformats.org/officeDocument/2006/relationships/image" Target="../media/image29.png"/><Relationship Id="rId39" Type="http://schemas.openxmlformats.org/officeDocument/2006/relationships/image" Target="../media/image42.png"/><Relationship Id="rId21" Type="http://schemas.openxmlformats.org/officeDocument/2006/relationships/image" Target="../media/image24.png"/><Relationship Id="rId34" Type="http://schemas.openxmlformats.org/officeDocument/2006/relationships/image" Target="../media/image37.emf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6" Type="http://schemas.openxmlformats.org/officeDocument/2006/relationships/image" Target="../media/image19.png"/><Relationship Id="rId20" Type="http://schemas.openxmlformats.org/officeDocument/2006/relationships/image" Target="../media/image23.png"/><Relationship Id="rId29" Type="http://schemas.openxmlformats.org/officeDocument/2006/relationships/image" Target="../media/image32.emf"/><Relationship Id="rId41" Type="http://schemas.openxmlformats.org/officeDocument/2006/relationships/image" Target="../media/image4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24" Type="http://schemas.openxmlformats.org/officeDocument/2006/relationships/image" Target="../media/image27.png"/><Relationship Id="rId32" Type="http://schemas.openxmlformats.org/officeDocument/2006/relationships/image" Target="../media/image35.emf"/><Relationship Id="rId37" Type="http://schemas.openxmlformats.org/officeDocument/2006/relationships/image" Target="../media/image40.png"/><Relationship Id="rId40" Type="http://schemas.openxmlformats.org/officeDocument/2006/relationships/image" Target="../media/image43.png"/><Relationship Id="rId5" Type="http://schemas.openxmlformats.org/officeDocument/2006/relationships/image" Target="../media/image8.png"/><Relationship Id="rId15" Type="http://schemas.openxmlformats.org/officeDocument/2006/relationships/image" Target="../media/image18.png"/><Relationship Id="rId23" Type="http://schemas.openxmlformats.org/officeDocument/2006/relationships/image" Target="../media/image26.png"/><Relationship Id="rId28" Type="http://schemas.openxmlformats.org/officeDocument/2006/relationships/image" Target="../media/image31.emf"/><Relationship Id="rId36" Type="http://schemas.openxmlformats.org/officeDocument/2006/relationships/image" Target="../media/image39.png"/><Relationship Id="rId10" Type="http://schemas.openxmlformats.org/officeDocument/2006/relationships/image" Target="../media/image13.png"/><Relationship Id="rId19" Type="http://schemas.openxmlformats.org/officeDocument/2006/relationships/image" Target="../media/image22.png"/><Relationship Id="rId31" Type="http://schemas.openxmlformats.org/officeDocument/2006/relationships/image" Target="../media/image34.emf"/><Relationship Id="rId4" Type="http://schemas.openxmlformats.org/officeDocument/2006/relationships/image" Target="../media/image7.png"/><Relationship Id="rId9" Type="http://schemas.openxmlformats.org/officeDocument/2006/relationships/image" Target="../media/image12.png"/><Relationship Id="rId14" Type="http://schemas.openxmlformats.org/officeDocument/2006/relationships/image" Target="../media/image17.png"/><Relationship Id="rId22" Type="http://schemas.openxmlformats.org/officeDocument/2006/relationships/image" Target="../media/image25.png"/><Relationship Id="rId27" Type="http://schemas.openxmlformats.org/officeDocument/2006/relationships/image" Target="../media/image30.png"/><Relationship Id="rId30" Type="http://schemas.openxmlformats.org/officeDocument/2006/relationships/image" Target="../media/image33.emf"/><Relationship Id="rId35" Type="http://schemas.openxmlformats.org/officeDocument/2006/relationships/image" Target="../media/image38.png"/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12" Type="http://schemas.openxmlformats.org/officeDocument/2006/relationships/image" Target="../media/image15.png"/><Relationship Id="rId17" Type="http://schemas.openxmlformats.org/officeDocument/2006/relationships/image" Target="../media/image20.png"/><Relationship Id="rId25" Type="http://schemas.openxmlformats.org/officeDocument/2006/relationships/image" Target="../media/image28.png"/><Relationship Id="rId33" Type="http://schemas.openxmlformats.org/officeDocument/2006/relationships/image" Target="../media/image36.emf"/><Relationship Id="rId38" Type="http://schemas.openxmlformats.org/officeDocument/2006/relationships/image" Target="../media/image41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56.png"/><Relationship Id="rId18" Type="http://schemas.openxmlformats.org/officeDocument/2006/relationships/image" Target="../media/image61.png"/><Relationship Id="rId26" Type="http://schemas.openxmlformats.org/officeDocument/2006/relationships/image" Target="../media/image69.emf"/><Relationship Id="rId3" Type="http://schemas.openxmlformats.org/officeDocument/2006/relationships/image" Target="../media/image46.png"/><Relationship Id="rId21" Type="http://schemas.openxmlformats.org/officeDocument/2006/relationships/image" Target="../media/image64.png"/><Relationship Id="rId7" Type="http://schemas.openxmlformats.org/officeDocument/2006/relationships/image" Target="../media/image50.png"/><Relationship Id="rId12" Type="http://schemas.openxmlformats.org/officeDocument/2006/relationships/image" Target="../media/image55.png"/><Relationship Id="rId17" Type="http://schemas.openxmlformats.org/officeDocument/2006/relationships/image" Target="../media/image60.png"/><Relationship Id="rId25" Type="http://schemas.openxmlformats.org/officeDocument/2006/relationships/image" Target="../media/image68.emf"/><Relationship Id="rId2" Type="http://schemas.openxmlformats.org/officeDocument/2006/relationships/image" Target="../media/image45.png"/><Relationship Id="rId16" Type="http://schemas.openxmlformats.org/officeDocument/2006/relationships/image" Target="../media/image59.png"/><Relationship Id="rId20" Type="http://schemas.openxmlformats.org/officeDocument/2006/relationships/image" Target="../media/image6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9.png"/><Relationship Id="rId11" Type="http://schemas.openxmlformats.org/officeDocument/2006/relationships/image" Target="../media/image54.png"/><Relationship Id="rId24" Type="http://schemas.openxmlformats.org/officeDocument/2006/relationships/image" Target="../media/image67.png"/><Relationship Id="rId5" Type="http://schemas.openxmlformats.org/officeDocument/2006/relationships/image" Target="../media/image48.png"/><Relationship Id="rId15" Type="http://schemas.openxmlformats.org/officeDocument/2006/relationships/image" Target="../media/image58.png"/><Relationship Id="rId23" Type="http://schemas.openxmlformats.org/officeDocument/2006/relationships/image" Target="../media/image66.png"/><Relationship Id="rId28" Type="http://schemas.openxmlformats.org/officeDocument/2006/relationships/image" Target="../media/image71.emf"/><Relationship Id="rId10" Type="http://schemas.openxmlformats.org/officeDocument/2006/relationships/image" Target="../media/image53.png"/><Relationship Id="rId19" Type="http://schemas.openxmlformats.org/officeDocument/2006/relationships/image" Target="../media/image62.png"/><Relationship Id="rId4" Type="http://schemas.openxmlformats.org/officeDocument/2006/relationships/image" Target="../media/image47.png"/><Relationship Id="rId9" Type="http://schemas.openxmlformats.org/officeDocument/2006/relationships/image" Target="../media/image52.png"/><Relationship Id="rId14" Type="http://schemas.openxmlformats.org/officeDocument/2006/relationships/image" Target="../media/image57.png"/><Relationship Id="rId22" Type="http://schemas.openxmlformats.org/officeDocument/2006/relationships/image" Target="../media/image65.png"/><Relationship Id="rId27" Type="http://schemas.openxmlformats.org/officeDocument/2006/relationships/image" Target="../media/image70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emf"/><Relationship Id="rId1" Type="http://schemas.openxmlformats.org/officeDocument/2006/relationships/slideMaster" Target="../slideMasters/slideMaster3.xml"/><Relationship Id="rId4" Type="http://schemas.microsoft.com/office/2007/relationships/hdphoto" Target="../media/hdphoto1.wdp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4.jpeg"/><Relationship Id="rId1" Type="http://schemas.openxmlformats.org/officeDocument/2006/relationships/slideMaster" Target="../slideMasters/slideMaster3.xml"/><Relationship Id="rId4" Type="http://schemas.openxmlformats.org/officeDocument/2006/relationships/hyperlink" Target="mailto:jescoda@alfaconsulting.com" TargetMode="Externa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7447" y="3733800"/>
            <a:ext cx="10947565" cy="2137870"/>
          </a:xfrm>
        </p:spPr>
        <p:txBody>
          <a:bodyPr lIns="0" tIns="0" rIns="0" bIns="0" anchor="b" anchorCtr="0">
            <a:noAutofit/>
          </a:bodyPr>
          <a:lstStyle>
            <a:lvl1pPr algn="ctr">
              <a:defRPr lang="en-US" sz="40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9D890D-2794-4869-A814-BD4C7B9CFCE3}" type="datetime1">
              <a:rPr lang="en-US" smtClean="0"/>
              <a:t>7/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EDE275-BE14-4364-AEA2-5F5667C0FD49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39454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600201"/>
            <a:ext cx="5383398" cy="4525963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986" y="1600201"/>
            <a:ext cx="5383398" cy="4525963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3AA9B9-B780-4194-954C-A7535CD4C989}" type="datetime1">
              <a:rPr lang="en-US" smtClean="0"/>
              <a:t>7/3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6997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660519"/>
            <a:ext cx="3960971" cy="795221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752600"/>
            <a:ext cx="3960971" cy="4191000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807665" y="6248400"/>
            <a:ext cx="379572" cy="365125"/>
          </a:xfrm>
        </p:spPr>
        <p:txBody>
          <a:bodyPr/>
          <a:lstStyle/>
          <a:p>
            <a:fld id="{96E69268-9C8B-4EBF-A9EE-DC5DC2D48DC3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5" name="Freeform 5"/>
          <p:cNvSpPr>
            <a:spLocks noEditPoints="1"/>
          </p:cNvSpPr>
          <p:nvPr userDrawn="1"/>
        </p:nvSpPr>
        <p:spPr bwMode="auto">
          <a:xfrm>
            <a:off x="970906" y="6342065"/>
            <a:ext cx="92075" cy="211138"/>
          </a:xfrm>
          <a:custGeom>
            <a:avLst/>
            <a:gdLst>
              <a:gd name="T0" fmla="*/ 15 w 23"/>
              <a:gd name="T1" fmla="*/ 17 h 51"/>
              <a:gd name="T2" fmla="*/ 15 w 23"/>
              <a:gd name="T3" fmla="*/ 12 h 51"/>
              <a:gd name="T4" fmla="*/ 16 w 23"/>
              <a:gd name="T5" fmla="*/ 11 h 51"/>
              <a:gd name="T6" fmla="*/ 16 w 23"/>
              <a:gd name="T7" fmla="*/ 10 h 51"/>
              <a:gd name="T8" fmla="*/ 17 w 23"/>
              <a:gd name="T9" fmla="*/ 9 h 51"/>
              <a:gd name="T10" fmla="*/ 19 w 23"/>
              <a:gd name="T11" fmla="*/ 9 h 51"/>
              <a:gd name="T12" fmla="*/ 23 w 23"/>
              <a:gd name="T13" fmla="*/ 9 h 51"/>
              <a:gd name="T14" fmla="*/ 23 w 23"/>
              <a:gd name="T15" fmla="*/ 0 h 51"/>
              <a:gd name="T16" fmla="*/ 16 w 23"/>
              <a:gd name="T17" fmla="*/ 0 h 51"/>
              <a:gd name="T18" fmla="*/ 8 w 23"/>
              <a:gd name="T19" fmla="*/ 3 h 51"/>
              <a:gd name="T20" fmla="*/ 5 w 23"/>
              <a:gd name="T21" fmla="*/ 11 h 51"/>
              <a:gd name="T22" fmla="*/ 5 w 23"/>
              <a:gd name="T23" fmla="*/ 17 h 51"/>
              <a:gd name="T24" fmla="*/ 0 w 23"/>
              <a:gd name="T25" fmla="*/ 17 h 51"/>
              <a:gd name="T26" fmla="*/ 0 w 23"/>
              <a:gd name="T27" fmla="*/ 25 h 51"/>
              <a:gd name="T28" fmla="*/ 5 w 23"/>
              <a:gd name="T29" fmla="*/ 25 h 51"/>
              <a:gd name="T30" fmla="*/ 5 w 23"/>
              <a:gd name="T31" fmla="*/ 51 h 51"/>
              <a:gd name="T32" fmla="*/ 15 w 23"/>
              <a:gd name="T33" fmla="*/ 51 h 51"/>
              <a:gd name="T34" fmla="*/ 15 w 23"/>
              <a:gd name="T35" fmla="*/ 25 h 51"/>
              <a:gd name="T36" fmla="*/ 23 w 23"/>
              <a:gd name="T37" fmla="*/ 25 h 51"/>
              <a:gd name="T38" fmla="*/ 23 w 23"/>
              <a:gd name="T39" fmla="*/ 17 h 51"/>
              <a:gd name="T40" fmla="*/ 15 w 23"/>
              <a:gd name="T41" fmla="*/ 17 h 51"/>
              <a:gd name="T42" fmla="*/ 15 w 23"/>
              <a:gd name="T43" fmla="*/ 17 h 51"/>
              <a:gd name="T44" fmla="*/ 15 w 23"/>
              <a:gd name="T45" fmla="*/ 17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" h="51">
                <a:moveTo>
                  <a:pt x="15" y="17"/>
                </a:moveTo>
                <a:cubicBezTo>
                  <a:pt x="15" y="12"/>
                  <a:pt x="15" y="12"/>
                  <a:pt x="15" y="12"/>
                </a:cubicBezTo>
                <a:cubicBezTo>
                  <a:pt x="15" y="11"/>
                  <a:pt x="16" y="11"/>
                  <a:pt x="16" y="11"/>
                </a:cubicBezTo>
                <a:cubicBezTo>
                  <a:pt x="16" y="10"/>
                  <a:pt x="16" y="10"/>
                  <a:pt x="16" y="10"/>
                </a:cubicBezTo>
                <a:cubicBezTo>
                  <a:pt x="16" y="9"/>
                  <a:pt x="17" y="9"/>
                  <a:pt x="17" y="9"/>
                </a:cubicBezTo>
                <a:cubicBezTo>
                  <a:pt x="18" y="9"/>
                  <a:pt x="18" y="9"/>
                  <a:pt x="19" y="9"/>
                </a:cubicBezTo>
                <a:cubicBezTo>
                  <a:pt x="23" y="9"/>
                  <a:pt x="23" y="9"/>
                  <a:pt x="23" y="9"/>
                </a:cubicBezTo>
                <a:cubicBezTo>
                  <a:pt x="23" y="0"/>
                  <a:pt x="23" y="0"/>
                  <a:pt x="23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2" y="0"/>
                  <a:pt x="9" y="1"/>
                  <a:pt x="8" y="3"/>
                </a:cubicBezTo>
                <a:cubicBezTo>
                  <a:pt x="6" y="5"/>
                  <a:pt x="5" y="7"/>
                  <a:pt x="5" y="11"/>
                </a:cubicBezTo>
                <a:cubicBezTo>
                  <a:pt x="5" y="17"/>
                  <a:pt x="5" y="17"/>
                  <a:pt x="5" y="17"/>
                </a:cubicBezTo>
                <a:cubicBezTo>
                  <a:pt x="0" y="17"/>
                  <a:pt x="0" y="17"/>
                  <a:pt x="0" y="17"/>
                </a:cubicBezTo>
                <a:cubicBezTo>
                  <a:pt x="0" y="25"/>
                  <a:pt x="0" y="25"/>
                  <a:pt x="0" y="25"/>
                </a:cubicBezTo>
                <a:cubicBezTo>
                  <a:pt x="5" y="25"/>
                  <a:pt x="5" y="25"/>
                  <a:pt x="5" y="25"/>
                </a:cubicBezTo>
                <a:cubicBezTo>
                  <a:pt x="5" y="51"/>
                  <a:pt x="5" y="51"/>
                  <a:pt x="5" y="51"/>
                </a:cubicBezTo>
                <a:cubicBezTo>
                  <a:pt x="15" y="51"/>
                  <a:pt x="15" y="51"/>
                  <a:pt x="15" y="51"/>
                </a:cubicBezTo>
                <a:cubicBezTo>
                  <a:pt x="15" y="25"/>
                  <a:pt x="15" y="25"/>
                  <a:pt x="15" y="25"/>
                </a:cubicBezTo>
                <a:cubicBezTo>
                  <a:pt x="23" y="25"/>
                  <a:pt x="23" y="25"/>
                  <a:pt x="23" y="25"/>
                </a:cubicBezTo>
                <a:cubicBezTo>
                  <a:pt x="23" y="17"/>
                  <a:pt x="23" y="17"/>
                  <a:pt x="23" y="17"/>
                </a:cubicBezTo>
                <a:lnTo>
                  <a:pt x="15" y="17"/>
                </a:lnTo>
                <a:close/>
                <a:moveTo>
                  <a:pt x="15" y="17"/>
                </a:moveTo>
                <a:cubicBezTo>
                  <a:pt x="15" y="17"/>
                  <a:pt x="15" y="17"/>
                  <a:pt x="15" y="17"/>
                </a:cubicBezTo>
              </a:path>
            </a:pathLst>
          </a:custGeom>
          <a:solidFill>
            <a:schemeClr val="bg1">
              <a:alpha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239373" y="6342065"/>
            <a:ext cx="217488" cy="211139"/>
            <a:chOff x="2152650" y="4338637"/>
            <a:chExt cx="217488" cy="211139"/>
          </a:xfrm>
          <a:solidFill>
            <a:schemeClr val="bg1">
              <a:alpha val="50000"/>
            </a:schemeClr>
          </a:solidFill>
        </p:grpSpPr>
        <p:sp>
          <p:nvSpPr>
            <p:cNvPr id="17" name="Rectangle 16"/>
            <p:cNvSpPr>
              <a:spLocks noChangeArrowheads="1"/>
            </p:cNvSpPr>
            <p:nvPr userDrawn="1"/>
          </p:nvSpPr>
          <p:spPr bwMode="auto">
            <a:xfrm>
              <a:off x="2157413" y="4405313"/>
              <a:ext cx="44450" cy="1444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" name="Freeform 17"/>
            <p:cNvSpPr>
              <a:spLocks noEditPoints="1"/>
            </p:cNvSpPr>
            <p:nvPr userDrawn="1"/>
          </p:nvSpPr>
          <p:spPr bwMode="auto">
            <a:xfrm>
              <a:off x="2225675" y="4405313"/>
              <a:ext cx="144463" cy="144463"/>
            </a:xfrm>
            <a:custGeom>
              <a:avLst/>
              <a:gdLst>
                <a:gd name="T0" fmla="*/ 32 w 36"/>
                <a:gd name="T1" fmla="*/ 3 h 35"/>
                <a:gd name="T2" fmla="*/ 22 w 36"/>
                <a:gd name="T3" fmla="*/ 0 h 35"/>
                <a:gd name="T4" fmla="*/ 18 w 36"/>
                <a:gd name="T5" fmla="*/ 0 h 35"/>
                <a:gd name="T6" fmla="*/ 15 w 36"/>
                <a:gd name="T7" fmla="*/ 2 h 35"/>
                <a:gd name="T8" fmla="*/ 13 w 36"/>
                <a:gd name="T9" fmla="*/ 3 h 35"/>
                <a:gd name="T10" fmla="*/ 12 w 36"/>
                <a:gd name="T11" fmla="*/ 5 h 35"/>
                <a:gd name="T12" fmla="*/ 12 w 36"/>
                <a:gd name="T13" fmla="*/ 0 h 35"/>
                <a:gd name="T14" fmla="*/ 0 w 36"/>
                <a:gd name="T15" fmla="*/ 0 h 35"/>
                <a:gd name="T16" fmla="*/ 0 w 36"/>
                <a:gd name="T17" fmla="*/ 2 h 35"/>
                <a:gd name="T18" fmla="*/ 0 w 36"/>
                <a:gd name="T19" fmla="*/ 12 h 35"/>
                <a:gd name="T20" fmla="*/ 0 w 36"/>
                <a:gd name="T21" fmla="*/ 35 h 35"/>
                <a:gd name="T22" fmla="*/ 12 w 36"/>
                <a:gd name="T23" fmla="*/ 35 h 35"/>
                <a:gd name="T24" fmla="*/ 12 w 36"/>
                <a:gd name="T25" fmla="*/ 16 h 35"/>
                <a:gd name="T26" fmla="*/ 12 w 36"/>
                <a:gd name="T27" fmla="*/ 13 h 35"/>
                <a:gd name="T28" fmla="*/ 15 w 36"/>
                <a:gd name="T29" fmla="*/ 10 h 35"/>
                <a:gd name="T30" fmla="*/ 18 w 36"/>
                <a:gd name="T31" fmla="*/ 9 h 35"/>
                <a:gd name="T32" fmla="*/ 23 w 36"/>
                <a:gd name="T33" fmla="*/ 11 h 35"/>
                <a:gd name="T34" fmla="*/ 24 w 36"/>
                <a:gd name="T35" fmla="*/ 16 h 35"/>
                <a:gd name="T36" fmla="*/ 24 w 36"/>
                <a:gd name="T37" fmla="*/ 35 h 35"/>
                <a:gd name="T38" fmla="*/ 36 w 36"/>
                <a:gd name="T39" fmla="*/ 35 h 35"/>
                <a:gd name="T40" fmla="*/ 36 w 36"/>
                <a:gd name="T41" fmla="*/ 15 h 35"/>
                <a:gd name="T42" fmla="*/ 32 w 36"/>
                <a:gd name="T43" fmla="*/ 3 h 35"/>
                <a:gd name="T44" fmla="*/ 32 w 36"/>
                <a:gd name="T45" fmla="*/ 3 h 35"/>
                <a:gd name="T46" fmla="*/ 32 w 36"/>
                <a:gd name="T47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" h="35">
                  <a:moveTo>
                    <a:pt x="32" y="3"/>
                  </a:moveTo>
                  <a:cubicBezTo>
                    <a:pt x="29" y="1"/>
                    <a:pt x="26" y="0"/>
                    <a:pt x="22" y="0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6" y="1"/>
                    <a:pt x="15" y="2"/>
                  </a:cubicBezTo>
                  <a:cubicBezTo>
                    <a:pt x="14" y="2"/>
                    <a:pt x="14" y="3"/>
                    <a:pt x="13" y="3"/>
                  </a:cubicBezTo>
                  <a:cubicBezTo>
                    <a:pt x="13" y="4"/>
                    <a:pt x="12" y="5"/>
                    <a:pt x="12" y="5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7"/>
                    <a:pt x="0" y="12"/>
                  </a:cubicBezTo>
                  <a:cubicBezTo>
                    <a:pt x="0" y="18"/>
                    <a:pt x="0" y="26"/>
                    <a:pt x="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4"/>
                    <a:pt x="12" y="14"/>
                    <a:pt x="12" y="13"/>
                  </a:cubicBezTo>
                  <a:cubicBezTo>
                    <a:pt x="13" y="12"/>
                    <a:pt x="14" y="11"/>
                    <a:pt x="15" y="10"/>
                  </a:cubicBezTo>
                  <a:cubicBezTo>
                    <a:pt x="15" y="9"/>
                    <a:pt x="17" y="9"/>
                    <a:pt x="18" y="9"/>
                  </a:cubicBezTo>
                  <a:cubicBezTo>
                    <a:pt x="20" y="9"/>
                    <a:pt x="22" y="9"/>
                    <a:pt x="23" y="11"/>
                  </a:cubicBezTo>
                  <a:cubicBezTo>
                    <a:pt x="24" y="12"/>
                    <a:pt x="24" y="14"/>
                    <a:pt x="24" y="16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6" y="10"/>
                    <a:pt x="34" y="6"/>
                    <a:pt x="32" y="3"/>
                  </a:cubicBezTo>
                  <a:close/>
                  <a:moveTo>
                    <a:pt x="32" y="3"/>
                  </a:moveTo>
                  <a:cubicBezTo>
                    <a:pt x="32" y="3"/>
                    <a:pt x="32" y="3"/>
                    <a:pt x="32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" name="Freeform 18"/>
            <p:cNvSpPr>
              <a:spLocks noEditPoints="1"/>
            </p:cNvSpPr>
            <p:nvPr userDrawn="1"/>
          </p:nvSpPr>
          <p:spPr bwMode="auto">
            <a:xfrm>
              <a:off x="2152650" y="4338637"/>
              <a:ext cx="52388" cy="50800"/>
            </a:xfrm>
            <a:custGeom>
              <a:avLst/>
              <a:gdLst>
                <a:gd name="T0" fmla="*/ 6 w 13"/>
                <a:gd name="T1" fmla="*/ 0 h 12"/>
                <a:gd name="T2" fmla="*/ 2 w 13"/>
                <a:gd name="T3" fmla="*/ 1 h 12"/>
                <a:gd name="T4" fmla="*/ 0 w 13"/>
                <a:gd name="T5" fmla="*/ 6 h 12"/>
                <a:gd name="T6" fmla="*/ 2 w 13"/>
                <a:gd name="T7" fmla="*/ 10 h 12"/>
                <a:gd name="T8" fmla="*/ 6 w 13"/>
                <a:gd name="T9" fmla="*/ 12 h 12"/>
                <a:gd name="T10" fmla="*/ 6 w 13"/>
                <a:gd name="T11" fmla="*/ 12 h 12"/>
                <a:gd name="T12" fmla="*/ 11 w 13"/>
                <a:gd name="T13" fmla="*/ 10 h 12"/>
                <a:gd name="T14" fmla="*/ 13 w 13"/>
                <a:gd name="T15" fmla="*/ 6 h 12"/>
                <a:gd name="T16" fmla="*/ 11 w 13"/>
                <a:gd name="T17" fmla="*/ 1 h 12"/>
                <a:gd name="T18" fmla="*/ 6 w 13"/>
                <a:gd name="T19" fmla="*/ 0 h 12"/>
                <a:gd name="T20" fmla="*/ 6 w 13"/>
                <a:gd name="T21" fmla="*/ 0 h 12"/>
                <a:gd name="T22" fmla="*/ 6 w 13"/>
                <a:gd name="T2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2">
                  <a:moveTo>
                    <a:pt x="6" y="0"/>
                  </a:moveTo>
                  <a:cubicBezTo>
                    <a:pt x="4" y="0"/>
                    <a:pt x="3" y="0"/>
                    <a:pt x="2" y="1"/>
                  </a:cubicBezTo>
                  <a:cubicBezTo>
                    <a:pt x="0" y="2"/>
                    <a:pt x="0" y="4"/>
                    <a:pt x="0" y="6"/>
                  </a:cubicBezTo>
                  <a:cubicBezTo>
                    <a:pt x="0" y="7"/>
                    <a:pt x="0" y="9"/>
                    <a:pt x="2" y="10"/>
                  </a:cubicBezTo>
                  <a:cubicBezTo>
                    <a:pt x="3" y="11"/>
                    <a:pt x="4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8" y="12"/>
                    <a:pt x="10" y="11"/>
                    <a:pt x="11" y="10"/>
                  </a:cubicBezTo>
                  <a:cubicBezTo>
                    <a:pt x="12" y="9"/>
                    <a:pt x="13" y="7"/>
                    <a:pt x="13" y="6"/>
                  </a:cubicBezTo>
                  <a:cubicBezTo>
                    <a:pt x="13" y="4"/>
                    <a:pt x="12" y="2"/>
                    <a:pt x="11" y="1"/>
                  </a:cubicBezTo>
                  <a:cubicBezTo>
                    <a:pt x="10" y="0"/>
                    <a:pt x="8" y="0"/>
                    <a:pt x="6" y="0"/>
                  </a:cubicBezTo>
                  <a:close/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20" name="Freeform 19"/>
          <p:cNvSpPr>
            <a:spLocks noEditPoints="1"/>
          </p:cNvSpPr>
          <p:nvPr userDrawn="1"/>
        </p:nvSpPr>
        <p:spPr bwMode="auto">
          <a:xfrm>
            <a:off x="590647" y="6352384"/>
            <a:ext cx="233363" cy="190500"/>
          </a:xfrm>
          <a:custGeom>
            <a:avLst/>
            <a:gdLst>
              <a:gd name="T0" fmla="*/ 51 w 58"/>
              <a:gd name="T1" fmla="*/ 7 h 46"/>
              <a:gd name="T2" fmla="*/ 56 w 58"/>
              <a:gd name="T3" fmla="*/ 1 h 46"/>
              <a:gd name="T4" fmla="*/ 49 w 58"/>
              <a:gd name="T5" fmla="*/ 3 h 46"/>
              <a:gd name="T6" fmla="*/ 40 w 58"/>
              <a:gd name="T7" fmla="*/ 0 h 46"/>
              <a:gd name="T8" fmla="*/ 32 w 58"/>
              <a:gd name="T9" fmla="*/ 3 h 46"/>
              <a:gd name="T10" fmla="*/ 28 w 58"/>
              <a:gd name="T11" fmla="*/ 12 h 46"/>
              <a:gd name="T12" fmla="*/ 29 w 58"/>
              <a:gd name="T13" fmla="*/ 14 h 46"/>
              <a:gd name="T14" fmla="*/ 4 w 58"/>
              <a:gd name="T15" fmla="*/ 2 h 46"/>
              <a:gd name="T16" fmla="*/ 3 w 58"/>
              <a:gd name="T17" fmla="*/ 8 h 46"/>
              <a:gd name="T18" fmla="*/ 8 w 58"/>
              <a:gd name="T19" fmla="*/ 18 h 46"/>
              <a:gd name="T20" fmla="*/ 3 w 58"/>
              <a:gd name="T21" fmla="*/ 16 h 46"/>
              <a:gd name="T22" fmla="*/ 5 w 58"/>
              <a:gd name="T23" fmla="*/ 24 h 46"/>
              <a:gd name="T24" fmla="*/ 12 w 58"/>
              <a:gd name="T25" fmla="*/ 28 h 46"/>
              <a:gd name="T26" fmla="*/ 9 w 58"/>
              <a:gd name="T27" fmla="*/ 28 h 46"/>
              <a:gd name="T28" fmla="*/ 7 w 58"/>
              <a:gd name="T29" fmla="*/ 28 h 46"/>
              <a:gd name="T30" fmla="*/ 11 w 58"/>
              <a:gd name="T31" fmla="*/ 34 h 46"/>
              <a:gd name="T32" fmla="*/ 18 w 58"/>
              <a:gd name="T33" fmla="*/ 36 h 46"/>
              <a:gd name="T34" fmla="*/ 3 w 58"/>
              <a:gd name="T35" fmla="*/ 41 h 46"/>
              <a:gd name="T36" fmla="*/ 0 w 58"/>
              <a:gd name="T37" fmla="*/ 41 h 46"/>
              <a:gd name="T38" fmla="*/ 19 w 58"/>
              <a:gd name="T39" fmla="*/ 46 h 46"/>
              <a:gd name="T40" fmla="*/ 37 w 58"/>
              <a:gd name="T41" fmla="*/ 41 h 46"/>
              <a:gd name="T42" fmla="*/ 48 w 58"/>
              <a:gd name="T43" fmla="*/ 29 h 46"/>
              <a:gd name="T44" fmla="*/ 52 w 58"/>
              <a:gd name="T45" fmla="*/ 13 h 46"/>
              <a:gd name="T46" fmla="*/ 52 w 58"/>
              <a:gd name="T47" fmla="*/ 11 h 46"/>
              <a:gd name="T48" fmla="*/ 58 w 58"/>
              <a:gd name="T49" fmla="*/ 5 h 46"/>
              <a:gd name="T50" fmla="*/ 51 w 58"/>
              <a:gd name="T51" fmla="*/ 7 h 46"/>
              <a:gd name="T52" fmla="*/ 51 w 58"/>
              <a:gd name="T53" fmla="*/ 7 h 46"/>
              <a:gd name="T54" fmla="*/ 51 w 58"/>
              <a:gd name="T55" fmla="*/ 7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58" h="46">
                <a:moveTo>
                  <a:pt x="51" y="7"/>
                </a:moveTo>
                <a:cubicBezTo>
                  <a:pt x="54" y="6"/>
                  <a:pt x="56" y="3"/>
                  <a:pt x="56" y="1"/>
                </a:cubicBezTo>
                <a:cubicBezTo>
                  <a:pt x="54" y="2"/>
                  <a:pt x="51" y="3"/>
                  <a:pt x="49" y="3"/>
                </a:cubicBezTo>
                <a:cubicBezTo>
                  <a:pt x="47" y="1"/>
                  <a:pt x="44" y="0"/>
                  <a:pt x="40" y="0"/>
                </a:cubicBezTo>
                <a:cubicBezTo>
                  <a:pt x="37" y="0"/>
                  <a:pt x="34" y="1"/>
                  <a:pt x="32" y="3"/>
                </a:cubicBezTo>
                <a:cubicBezTo>
                  <a:pt x="30" y="6"/>
                  <a:pt x="28" y="8"/>
                  <a:pt x="28" y="12"/>
                </a:cubicBezTo>
                <a:cubicBezTo>
                  <a:pt x="28" y="13"/>
                  <a:pt x="29" y="13"/>
                  <a:pt x="29" y="14"/>
                </a:cubicBezTo>
                <a:cubicBezTo>
                  <a:pt x="19" y="14"/>
                  <a:pt x="11" y="10"/>
                  <a:pt x="4" y="2"/>
                </a:cubicBezTo>
                <a:cubicBezTo>
                  <a:pt x="3" y="4"/>
                  <a:pt x="3" y="6"/>
                  <a:pt x="3" y="8"/>
                </a:cubicBezTo>
                <a:cubicBezTo>
                  <a:pt x="3" y="12"/>
                  <a:pt x="5" y="15"/>
                  <a:pt x="8" y="18"/>
                </a:cubicBezTo>
                <a:cubicBezTo>
                  <a:pt x="6" y="18"/>
                  <a:pt x="4" y="17"/>
                  <a:pt x="3" y="16"/>
                </a:cubicBezTo>
                <a:cubicBezTo>
                  <a:pt x="3" y="19"/>
                  <a:pt x="4" y="22"/>
                  <a:pt x="5" y="24"/>
                </a:cubicBezTo>
                <a:cubicBezTo>
                  <a:pt x="7" y="26"/>
                  <a:pt x="9" y="27"/>
                  <a:pt x="12" y="28"/>
                </a:cubicBezTo>
                <a:cubicBezTo>
                  <a:pt x="11" y="28"/>
                  <a:pt x="10" y="28"/>
                  <a:pt x="9" y="28"/>
                </a:cubicBezTo>
                <a:cubicBezTo>
                  <a:pt x="8" y="28"/>
                  <a:pt x="7" y="28"/>
                  <a:pt x="7" y="28"/>
                </a:cubicBezTo>
                <a:cubicBezTo>
                  <a:pt x="8" y="30"/>
                  <a:pt x="9" y="32"/>
                  <a:pt x="11" y="34"/>
                </a:cubicBezTo>
                <a:cubicBezTo>
                  <a:pt x="13" y="35"/>
                  <a:pt x="15" y="36"/>
                  <a:pt x="18" y="36"/>
                </a:cubicBezTo>
                <a:cubicBezTo>
                  <a:pt x="14" y="40"/>
                  <a:pt x="9" y="41"/>
                  <a:pt x="3" y="41"/>
                </a:cubicBezTo>
                <a:cubicBezTo>
                  <a:pt x="2" y="41"/>
                  <a:pt x="1" y="41"/>
                  <a:pt x="0" y="41"/>
                </a:cubicBezTo>
                <a:cubicBezTo>
                  <a:pt x="6" y="45"/>
                  <a:pt x="12" y="46"/>
                  <a:pt x="19" y="46"/>
                </a:cubicBezTo>
                <a:cubicBezTo>
                  <a:pt x="25" y="46"/>
                  <a:pt x="31" y="45"/>
                  <a:pt x="37" y="41"/>
                </a:cubicBezTo>
                <a:cubicBezTo>
                  <a:pt x="42" y="38"/>
                  <a:pt x="46" y="34"/>
                  <a:pt x="48" y="29"/>
                </a:cubicBezTo>
                <a:cubicBezTo>
                  <a:pt x="51" y="24"/>
                  <a:pt x="52" y="18"/>
                  <a:pt x="52" y="13"/>
                </a:cubicBezTo>
                <a:cubicBezTo>
                  <a:pt x="52" y="11"/>
                  <a:pt x="52" y="11"/>
                  <a:pt x="52" y="11"/>
                </a:cubicBezTo>
                <a:cubicBezTo>
                  <a:pt x="55" y="10"/>
                  <a:pt x="56" y="8"/>
                  <a:pt x="58" y="5"/>
                </a:cubicBezTo>
                <a:cubicBezTo>
                  <a:pt x="56" y="6"/>
                  <a:pt x="54" y="7"/>
                  <a:pt x="51" y="7"/>
                </a:cubicBezTo>
                <a:close/>
                <a:moveTo>
                  <a:pt x="51" y="7"/>
                </a:moveTo>
                <a:cubicBezTo>
                  <a:pt x="51" y="7"/>
                  <a:pt x="51" y="7"/>
                  <a:pt x="51" y="7"/>
                </a:cubicBezTo>
              </a:path>
            </a:pathLst>
          </a:custGeom>
          <a:solidFill>
            <a:schemeClr val="bg1">
              <a:alpha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1" name="Date Placeholder 1"/>
          <p:cNvSpPr>
            <a:spLocks noGrp="1"/>
          </p:cNvSpPr>
          <p:nvPr>
            <p:ph type="dt" sz="half" idx="10"/>
          </p:nvPr>
        </p:nvSpPr>
        <p:spPr>
          <a:xfrm>
            <a:off x="609441" y="6248400"/>
            <a:ext cx="2844059" cy="365125"/>
          </a:xfrm>
        </p:spPr>
        <p:txBody>
          <a:bodyPr/>
          <a:lstStyle/>
          <a:p>
            <a:fld id="{CEDAEF63-FBF5-4459-BC63-41A148B09500}" type="datetime1">
              <a:rPr lang="en-US" smtClean="0"/>
              <a:t>7/3/20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6913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71ECC6-BEB7-4907-9764-D34007944226}" type="datetime1">
              <a:rPr lang="en-US" smtClean="0"/>
              <a:t>7/3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Freeform 5"/>
          <p:cNvSpPr>
            <a:spLocks noEditPoints="1"/>
          </p:cNvSpPr>
          <p:nvPr userDrawn="1"/>
        </p:nvSpPr>
        <p:spPr bwMode="auto">
          <a:xfrm>
            <a:off x="970906" y="6342065"/>
            <a:ext cx="92075" cy="211138"/>
          </a:xfrm>
          <a:custGeom>
            <a:avLst/>
            <a:gdLst>
              <a:gd name="T0" fmla="*/ 15 w 23"/>
              <a:gd name="T1" fmla="*/ 17 h 51"/>
              <a:gd name="T2" fmla="*/ 15 w 23"/>
              <a:gd name="T3" fmla="*/ 12 h 51"/>
              <a:gd name="T4" fmla="*/ 16 w 23"/>
              <a:gd name="T5" fmla="*/ 11 h 51"/>
              <a:gd name="T6" fmla="*/ 16 w 23"/>
              <a:gd name="T7" fmla="*/ 10 h 51"/>
              <a:gd name="T8" fmla="*/ 17 w 23"/>
              <a:gd name="T9" fmla="*/ 9 h 51"/>
              <a:gd name="T10" fmla="*/ 19 w 23"/>
              <a:gd name="T11" fmla="*/ 9 h 51"/>
              <a:gd name="T12" fmla="*/ 23 w 23"/>
              <a:gd name="T13" fmla="*/ 9 h 51"/>
              <a:gd name="T14" fmla="*/ 23 w 23"/>
              <a:gd name="T15" fmla="*/ 0 h 51"/>
              <a:gd name="T16" fmla="*/ 16 w 23"/>
              <a:gd name="T17" fmla="*/ 0 h 51"/>
              <a:gd name="T18" fmla="*/ 8 w 23"/>
              <a:gd name="T19" fmla="*/ 3 h 51"/>
              <a:gd name="T20" fmla="*/ 5 w 23"/>
              <a:gd name="T21" fmla="*/ 11 h 51"/>
              <a:gd name="T22" fmla="*/ 5 w 23"/>
              <a:gd name="T23" fmla="*/ 17 h 51"/>
              <a:gd name="T24" fmla="*/ 0 w 23"/>
              <a:gd name="T25" fmla="*/ 17 h 51"/>
              <a:gd name="T26" fmla="*/ 0 w 23"/>
              <a:gd name="T27" fmla="*/ 25 h 51"/>
              <a:gd name="T28" fmla="*/ 5 w 23"/>
              <a:gd name="T29" fmla="*/ 25 h 51"/>
              <a:gd name="T30" fmla="*/ 5 w 23"/>
              <a:gd name="T31" fmla="*/ 51 h 51"/>
              <a:gd name="T32" fmla="*/ 15 w 23"/>
              <a:gd name="T33" fmla="*/ 51 h 51"/>
              <a:gd name="T34" fmla="*/ 15 w 23"/>
              <a:gd name="T35" fmla="*/ 25 h 51"/>
              <a:gd name="T36" fmla="*/ 23 w 23"/>
              <a:gd name="T37" fmla="*/ 25 h 51"/>
              <a:gd name="T38" fmla="*/ 23 w 23"/>
              <a:gd name="T39" fmla="*/ 17 h 51"/>
              <a:gd name="T40" fmla="*/ 15 w 23"/>
              <a:gd name="T41" fmla="*/ 17 h 51"/>
              <a:gd name="T42" fmla="*/ 15 w 23"/>
              <a:gd name="T43" fmla="*/ 17 h 51"/>
              <a:gd name="T44" fmla="*/ 15 w 23"/>
              <a:gd name="T45" fmla="*/ 17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" h="51">
                <a:moveTo>
                  <a:pt x="15" y="17"/>
                </a:moveTo>
                <a:cubicBezTo>
                  <a:pt x="15" y="12"/>
                  <a:pt x="15" y="12"/>
                  <a:pt x="15" y="12"/>
                </a:cubicBezTo>
                <a:cubicBezTo>
                  <a:pt x="15" y="11"/>
                  <a:pt x="16" y="11"/>
                  <a:pt x="16" y="11"/>
                </a:cubicBezTo>
                <a:cubicBezTo>
                  <a:pt x="16" y="10"/>
                  <a:pt x="16" y="10"/>
                  <a:pt x="16" y="10"/>
                </a:cubicBezTo>
                <a:cubicBezTo>
                  <a:pt x="16" y="9"/>
                  <a:pt x="17" y="9"/>
                  <a:pt x="17" y="9"/>
                </a:cubicBezTo>
                <a:cubicBezTo>
                  <a:pt x="18" y="9"/>
                  <a:pt x="18" y="9"/>
                  <a:pt x="19" y="9"/>
                </a:cubicBezTo>
                <a:cubicBezTo>
                  <a:pt x="23" y="9"/>
                  <a:pt x="23" y="9"/>
                  <a:pt x="23" y="9"/>
                </a:cubicBezTo>
                <a:cubicBezTo>
                  <a:pt x="23" y="0"/>
                  <a:pt x="23" y="0"/>
                  <a:pt x="23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2" y="0"/>
                  <a:pt x="9" y="1"/>
                  <a:pt x="8" y="3"/>
                </a:cubicBezTo>
                <a:cubicBezTo>
                  <a:pt x="6" y="5"/>
                  <a:pt x="5" y="7"/>
                  <a:pt x="5" y="11"/>
                </a:cubicBezTo>
                <a:cubicBezTo>
                  <a:pt x="5" y="17"/>
                  <a:pt x="5" y="17"/>
                  <a:pt x="5" y="17"/>
                </a:cubicBezTo>
                <a:cubicBezTo>
                  <a:pt x="0" y="17"/>
                  <a:pt x="0" y="17"/>
                  <a:pt x="0" y="17"/>
                </a:cubicBezTo>
                <a:cubicBezTo>
                  <a:pt x="0" y="25"/>
                  <a:pt x="0" y="25"/>
                  <a:pt x="0" y="25"/>
                </a:cubicBezTo>
                <a:cubicBezTo>
                  <a:pt x="5" y="25"/>
                  <a:pt x="5" y="25"/>
                  <a:pt x="5" y="25"/>
                </a:cubicBezTo>
                <a:cubicBezTo>
                  <a:pt x="5" y="51"/>
                  <a:pt x="5" y="51"/>
                  <a:pt x="5" y="51"/>
                </a:cubicBezTo>
                <a:cubicBezTo>
                  <a:pt x="15" y="51"/>
                  <a:pt x="15" y="51"/>
                  <a:pt x="15" y="51"/>
                </a:cubicBezTo>
                <a:cubicBezTo>
                  <a:pt x="15" y="25"/>
                  <a:pt x="15" y="25"/>
                  <a:pt x="15" y="25"/>
                </a:cubicBezTo>
                <a:cubicBezTo>
                  <a:pt x="23" y="25"/>
                  <a:pt x="23" y="25"/>
                  <a:pt x="23" y="25"/>
                </a:cubicBezTo>
                <a:cubicBezTo>
                  <a:pt x="23" y="17"/>
                  <a:pt x="23" y="17"/>
                  <a:pt x="23" y="17"/>
                </a:cubicBezTo>
                <a:lnTo>
                  <a:pt x="15" y="17"/>
                </a:lnTo>
                <a:close/>
                <a:moveTo>
                  <a:pt x="15" y="17"/>
                </a:moveTo>
                <a:cubicBezTo>
                  <a:pt x="15" y="17"/>
                  <a:pt x="15" y="17"/>
                  <a:pt x="15" y="17"/>
                </a:cubicBezTo>
              </a:path>
            </a:pathLst>
          </a:custGeom>
          <a:solidFill>
            <a:schemeClr val="bg1">
              <a:alpha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1239373" y="6342065"/>
            <a:ext cx="217488" cy="211139"/>
            <a:chOff x="2152650" y="4338637"/>
            <a:chExt cx="217488" cy="211139"/>
          </a:xfrm>
          <a:solidFill>
            <a:schemeClr val="bg1">
              <a:alpha val="50000"/>
            </a:schemeClr>
          </a:solidFill>
        </p:grpSpPr>
        <p:sp>
          <p:nvSpPr>
            <p:cNvPr id="17" name="Rectangle 6"/>
            <p:cNvSpPr>
              <a:spLocks noChangeArrowheads="1"/>
            </p:cNvSpPr>
            <p:nvPr userDrawn="1"/>
          </p:nvSpPr>
          <p:spPr bwMode="auto">
            <a:xfrm>
              <a:off x="2157413" y="4405313"/>
              <a:ext cx="44450" cy="1444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2225675" y="4405313"/>
              <a:ext cx="144463" cy="144463"/>
            </a:xfrm>
            <a:custGeom>
              <a:avLst/>
              <a:gdLst>
                <a:gd name="T0" fmla="*/ 32 w 36"/>
                <a:gd name="T1" fmla="*/ 3 h 35"/>
                <a:gd name="T2" fmla="*/ 22 w 36"/>
                <a:gd name="T3" fmla="*/ 0 h 35"/>
                <a:gd name="T4" fmla="*/ 18 w 36"/>
                <a:gd name="T5" fmla="*/ 0 h 35"/>
                <a:gd name="T6" fmla="*/ 15 w 36"/>
                <a:gd name="T7" fmla="*/ 2 h 35"/>
                <a:gd name="T8" fmla="*/ 13 w 36"/>
                <a:gd name="T9" fmla="*/ 3 h 35"/>
                <a:gd name="T10" fmla="*/ 12 w 36"/>
                <a:gd name="T11" fmla="*/ 5 h 35"/>
                <a:gd name="T12" fmla="*/ 12 w 36"/>
                <a:gd name="T13" fmla="*/ 0 h 35"/>
                <a:gd name="T14" fmla="*/ 0 w 36"/>
                <a:gd name="T15" fmla="*/ 0 h 35"/>
                <a:gd name="T16" fmla="*/ 0 w 36"/>
                <a:gd name="T17" fmla="*/ 2 h 35"/>
                <a:gd name="T18" fmla="*/ 0 w 36"/>
                <a:gd name="T19" fmla="*/ 12 h 35"/>
                <a:gd name="T20" fmla="*/ 0 w 36"/>
                <a:gd name="T21" fmla="*/ 35 h 35"/>
                <a:gd name="T22" fmla="*/ 12 w 36"/>
                <a:gd name="T23" fmla="*/ 35 h 35"/>
                <a:gd name="T24" fmla="*/ 12 w 36"/>
                <a:gd name="T25" fmla="*/ 16 h 35"/>
                <a:gd name="T26" fmla="*/ 12 w 36"/>
                <a:gd name="T27" fmla="*/ 13 h 35"/>
                <a:gd name="T28" fmla="*/ 15 w 36"/>
                <a:gd name="T29" fmla="*/ 10 h 35"/>
                <a:gd name="T30" fmla="*/ 18 w 36"/>
                <a:gd name="T31" fmla="*/ 9 h 35"/>
                <a:gd name="T32" fmla="*/ 23 w 36"/>
                <a:gd name="T33" fmla="*/ 11 h 35"/>
                <a:gd name="T34" fmla="*/ 24 w 36"/>
                <a:gd name="T35" fmla="*/ 16 h 35"/>
                <a:gd name="T36" fmla="*/ 24 w 36"/>
                <a:gd name="T37" fmla="*/ 35 h 35"/>
                <a:gd name="T38" fmla="*/ 36 w 36"/>
                <a:gd name="T39" fmla="*/ 35 h 35"/>
                <a:gd name="T40" fmla="*/ 36 w 36"/>
                <a:gd name="T41" fmla="*/ 15 h 35"/>
                <a:gd name="T42" fmla="*/ 32 w 36"/>
                <a:gd name="T43" fmla="*/ 3 h 35"/>
                <a:gd name="T44" fmla="*/ 32 w 36"/>
                <a:gd name="T45" fmla="*/ 3 h 35"/>
                <a:gd name="T46" fmla="*/ 32 w 36"/>
                <a:gd name="T47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" h="35">
                  <a:moveTo>
                    <a:pt x="32" y="3"/>
                  </a:moveTo>
                  <a:cubicBezTo>
                    <a:pt x="29" y="1"/>
                    <a:pt x="26" y="0"/>
                    <a:pt x="22" y="0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6" y="1"/>
                    <a:pt x="15" y="2"/>
                  </a:cubicBezTo>
                  <a:cubicBezTo>
                    <a:pt x="14" y="2"/>
                    <a:pt x="14" y="3"/>
                    <a:pt x="13" y="3"/>
                  </a:cubicBezTo>
                  <a:cubicBezTo>
                    <a:pt x="13" y="4"/>
                    <a:pt x="12" y="5"/>
                    <a:pt x="12" y="5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7"/>
                    <a:pt x="0" y="12"/>
                  </a:cubicBezTo>
                  <a:cubicBezTo>
                    <a:pt x="0" y="18"/>
                    <a:pt x="0" y="26"/>
                    <a:pt x="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4"/>
                    <a:pt x="12" y="14"/>
                    <a:pt x="12" y="13"/>
                  </a:cubicBezTo>
                  <a:cubicBezTo>
                    <a:pt x="13" y="12"/>
                    <a:pt x="14" y="11"/>
                    <a:pt x="15" y="10"/>
                  </a:cubicBezTo>
                  <a:cubicBezTo>
                    <a:pt x="15" y="9"/>
                    <a:pt x="17" y="9"/>
                    <a:pt x="18" y="9"/>
                  </a:cubicBezTo>
                  <a:cubicBezTo>
                    <a:pt x="20" y="9"/>
                    <a:pt x="22" y="9"/>
                    <a:pt x="23" y="11"/>
                  </a:cubicBezTo>
                  <a:cubicBezTo>
                    <a:pt x="24" y="12"/>
                    <a:pt x="24" y="14"/>
                    <a:pt x="24" y="16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6" y="10"/>
                    <a:pt x="34" y="6"/>
                    <a:pt x="32" y="3"/>
                  </a:cubicBezTo>
                  <a:close/>
                  <a:moveTo>
                    <a:pt x="32" y="3"/>
                  </a:moveTo>
                  <a:cubicBezTo>
                    <a:pt x="32" y="3"/>
                    <a:pt x="32" y="3"/>
                    <a:pt x="32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" name="Freeform 8"/>
            <p:cNvSpPr>
              <a:spLocks noEditPoints="1"/>
            </p:cNvSpPr>
            <p:nvPr userDrawn="1"/>
          </p:nvSpPr>
          <p:spPr bwMode="auto">
            <a:xfrm>
              <a:off x="2152650" y="4338637"/>
              <a:ext cx="52388" cy="50800"/>
            </a:xfrm>
            <a:custGeom>
              <a:avLst/>
              <a:gdLst>
                <a:gd name="T0" fmla="*/ 6 w 13"/>
                <a:gd name="T1" fmla="*/ 0 h 12"/>
                <a:gd name="T2" fmla="*/ 2 w 13"/>
                <a:gd name="T3" fmla="*/ 1 h 12"/>
                <a:gd name="T4" fmla="*/ 0 w 13"/>
                <a:gd name="T5" fmla="*/ 6 h 12"/>
                <a:gd name="T6" fmla="*/ 2 w 13"/>
                <a:gd name="T7" fmla="*/ 10 h 12"/>
                <a:gd name="T8" fmla="*/ 6 w 13"/>
                <a:gd name="T9" fmla="*/ 12 h 12"/>
                <a:gd name="T10" fmla="*/ 6 w 13"/>
                <a:gd name="T11" fmla="*/ 12 h 12"/>
                <a:gd name="T12" fmla="*/ 11 w 13"/>
                <a:gd name="T13" fmla="*/ 10 h 12"/>
                <a:gd name="T14" fmla="*/ 13 w 13"/>
                <a:gd name="T15" fmla="*/ 6 h 12"/>
                <a:gd name="T16" fmla="*/ 11 w 13"/>
                <a:gd name="T17" fmla="*/ 1 h 12"/>
                <a:gd name="T18" fmla="*/ 6 w 13"/>
                <a:gd name="T19" fmla="*/ 0 h 12"/>
                <a:gd name="T20" fmla="*/ 6 w 13"/>
                <a:gd name="T21" fmla="*/ 0 h 12"/>
                <a:gd name="T22" fmla="*/ 6 w 13"/>
                <a:gd name="T2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2">
                  <a:moveTo>
                    <a:pt x="6" y="0"/>
                  </a:moveTo>
                  <a:cubicBezTo>
                    <a:pt x="4" y="0"/>
                    <a:pt x="3" y="0"/>
                    <a:pt x="2" y="1"/>
                  </a:cubicBezTo>
                  <a:cubicBezTo>
                    <a:pt x="0" y="2"/>
                    <a:pt x="0" y="4"/>
                    <a:pt x="0" y="6"/>
                  </a:cubicBezTo>
                  <a:cubicBezTo>
                    <a:pt x="0" y="7"/>
                    <a:pt x="0" y="9"/>
                    <a:pt x="2" y="10"/>
                  </a:cubicBezTo>
                  <a:cubicBezTo>
                    <a:pt x="3" y="11"/>
                    <a:pt x="4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8" y="12"/>
                    <a:pt x="10" y="11"/>
                    <a:pt x="11" y="10"/>
                  </a:cubicBezTo>
                  <a:cubicBezTo>
                    <a:pt x="12" y="9"/>
                    <a:pt x="13" y="7"/>
                    <a:pt x="13" y="6"/>
                  </a:cubicBezTo>
                  <a:cubicBezTo>
                    <a:pt x="13" y="4"/>
                    <a:pt x="12" y="2"/>
                    <a:pt x="11" y="1"/>
                  </a:cubicBezTo>
                  <a:cubicBezTo>
                    <a:pt x="10" y="0"/>
                    <a:pt x="8" y="0"/>
                    <a:pt x="6" y="0"/>
                  </a:cubicBezTo>
                  <a:close/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20" name="Freeform 9"/>
          <p:cNvSpPr>
            <a:spLocks noEditPoints="1"/>
          </p:cNvSpPr>
          <p:nvPr userDrawn="1"/>
        </p:nvSpPr>
        <p:spPr bwMode="auto">
          <a:xfrm>
            <a:off x="590647" y="6352384"/>
            <a:ext cx="233363" cy="190500"/>
          </a:xfrm>
          <a:custGeom>
            <a:avLst/>
            <a:gdLst>
              <a:gd name="T0" fmla="*/ 51 w 58"/>
              <a:gd name="T1" fmla="*/ 7 h 46"/>
              <a:gd name="T2" fmla="*/ 56 w 58"/>
              <a:gd name="T3" fmla="*/ 1 h 46"/>
              <a:gd name="T4" fmla="*/ 49 w 58"/>
              <a:gd name="T5" fmla="*/ 3 h 46"/>
              <a:gd name="T6" fmla="*/ 40 w 58"/>
              <a:gd name="T7" fmla="*/ 0 h 46"/>
              <a:gd name="T8" fmla="*/ 32 w 58"/>
              <a:gd name="T9" fmla="*/ 3 h 46"/>
              <a:gd name="T10" fmla="*/ 28 w 58"/>
              <a:gd name="T11" fmla="*/ 12 h 46"/>
              <a:gd name="T12" fmla="*/ 29 w 58"/>
              <a:gd name="T13" fmla="*/ 14 h 46"/>
              <a:gd name="T14" fmla="*/ 4 w 58"/>
              <a:gd name="T15" fmla="*/ 2 h 46"/>
              <a:gd name="T16" fmla="*/ 3 w 58"/>
              <a:gd name="T17" fmla="*/ 8 h 46"/>
              <a:gd name="T18" fmla="*/ 8 w 58"/>
              <a:gd name="T19" fmla="*/ 18 h 46"/>
              <a:gd name="T20" fmla="*/ 3 w 58"/>
              <a:gd name="T21" fmla="*/ 16 h 46"/>
              <a:gd name="T22" fmla="*/ 5 w 58"/>
              <a:gd name="T23" fmla="*/ 24 h 46"/>
              <a:gd name="T24" fmla="*/ 12 w 58"/>
              <a:gd name="T25" fmla="*/ 28 h 46"/>
              <a:gd name="T26" fmla="*/ 9 w 58"/>
              <a:gd name="T27" fmla="*/ 28 h 46"/>
              <a:gd name="T28" fmla="*/ 7 w 58"/>
              <a:gd name="T29" fmla="*/ 28 h 46"/>
              <a:gd name="T30" fmla="*/ 11 w 58"/>
              <a:gd name="T31" fmla="*/ 34 h 46"/>
              <a:gd name="T32" fmla="*/ 18 w 58"/>
              <a:gd name="T33" fmla="*/ 36 h 46"/>
              <a:gd name="T34" fmla="*/ 3 w 58"/>
              <a:gd name="T35" fmla="*/ 41 h 46"/>
              <a:gd name="T36" fmla="*/ 0 w 58"/>
              <a:gd name="T37" fmla="*/ 41 h 46"/>
              <a:gd name="T38" fmla="*/ 19 w 58"/>
              <a:gd name="T39" fmla="*/ 46 h 46"/>
              <a:gd name="T40" fmla="*/ 37 w 58"/>
              <a:gd name="T41" fmla="*/ 41 h 46"/>
              <a:gd name="T42" fmla="*/ 48 w 58"/>
              <a:gd name="T43" fmla="*/ 29 h 46"/>
              <a:gd name="T44" fmla="*/ 52 w 58"/>
              <a:gd name="T45" fmla="*/ 13 h 46"/>
              <a:gd name="T46" fmla="*/ 52 w 58"/>
              <a:gd name="T47" fmla="*/ 11 h 46"/>
              <a:gd name="T48" fmla="*/ 58 w 58"/>
              <a:gd name="T49" fmla="*/ 5 h 46"/>
              <a:gd name="T50" fmla="*/ 51 w 58"/>
              <a:gd name="T51" fmla="*/ 7 h 46"/>
              <a:gd name="T52" fmla="*/ 51 w 58"/>
              <a:gd name="T53" fmla="*/ 7 h 46"/>
              <a:gd name="T54" fmla="*/ 51 w 58"/>
              <a:gd name="T55" fmla="*/ 7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58" h="46">
                <a:moveTo>
                  <a:pt x="51" y="7"/>
                </a:moveTo>
                <a:cubicBezTo>
                  <a:pt x="54" y="6"/>
                  <a:pt x="56" y="3"/>
                  <a:pt x="56" y="1"/>
                </a:cubicBezTo>
                <a:cubicBezTo>
                  <a:pt x="54" y="2"/>
                  <a:pt x="51" y="3"/>
                  <a:pt x="49" y="3"/>
                </a:cubicBezTo>
                <a:cubicBezTo>
                  <a:pt x="47" y="1"/>
                  <a:pt x="44" y="0"/>
                  <a:pt x="40" y="0"/>
                </a:cubicBezTo>
                <a:cubicBezTo>
                  <a:pt x="37" y="0"/>
                  <a:pt x="34" y="1"/>
                  <a:pt x="32" y="3"/>
                </a:cubicBezTo>
                <a:cubicBezTo>
                  <a:pt x="30" y="6"/>
                  <a:pt x="28" y="8"/>
                  <a:pt x="28" y="12"/>
                </a:cubicBezTo>
                <a:cubicBezTo>
                  <a:pt x="28" y="13"/>
                  <a:pt x="29" y="13"/>
                  <a:pt x="29" y="14"/>
                </a:cubicBezTo>
                <a:cubicBezTo>
                  <a:pt x="19" y="14"/>
                  <a:pt x="11" y="10"/>
                  <a:pt x="4" y="2"/>
                </a:cubicBezTo>
                <a:cubicBezTo>
                  <a:pt x="3" y="4"/>
                  <a:pt x="3" y="6"/>
                  <a:pt x="3" y="8"/>
                </a:cubicBezTo>
                <a:cubicBezTo>
                  <a:pt x="3" y="12"/>
                  <a:pt x="5" y="15"/>
                  <a:pt x="8" y="18"/>
                </a:cubicBezTo>
                <a:cubicBezTo>
                  <a:pt x="6" y="18"/>
                  <a:pt x="4" y="17"/>
                  <a:pt x="3" y="16"/>
                </a:cubicBezTo>
                <a:cubicBezTo>
                  <a:pt x="3" y="19"/>
                  <a:pt x="4" y="22"/>
                  <a:pt x="5" y="24"/>
                </a:cubicBezTo>
                <a:cubicBezTo>
                  <a:pt x="7" y="26"/>
                  <a:pt x="9" y="27"/>
                  <a:pt x="12" y="28"/>
                </a:cubicBezTo>
                <a:cubicBezTo>
                  <a:pt x="11" y="28"/>
                  <a:pt x="10" y="28"/>
                  <a:pt x="9" y="28"/>
                </a:cubicBezTo>
                <a:cubicBezTo>
                  <a:pt x="8" y="28"/>
                  <a:pt x="7" y="28"/>
                  <a:pt x="7" y="28"/>
                </a:cubicBezTo>
                <a:cubicBezTo>
                  <a:pt x="8" y="30"/>
                  <a:pt x="9" y="32"/>
                  <a:pt x="11" y="34"/>
                </a:cubicBezTo>
                <a:cubicBezTo>
                  <a:pt x="13" y="35"/>
                  <a:pt x="15" y="36"/>
                  <a:pt x="18" y="36"/>
                </a:cubicBezTo>
                <a:cubicBezTo>
                  <a:pt x="14" y="40"/>
                  <a:pt x="9" y="41"/>
                  <a:pt x="3" y="41"/>
                </a:cubicBezTo>
                <a:cubicBezTo>
                  <a:pt x="2" y="41"/>
                  <a:pt x="1" y="41"/>
                  <a:pt x="0" y="41"/>
                </a:cubicBezTo>
                <a:cubicBezTo>
                  <a:pt x="6" y="45"/>
                  <a:pt x="12" y="46"/>
                  <a:pt x="19" y="46"/>
                </a:cubicBezTo>
                <a:cubicBezTo>
                  <a:pt x="25" y="46"/>
                  <a:pt x="31" y="45"/>
                  <a:pt x="37" y="41"/>
                </a:cubicBezTo>
                <a:cubicBezTo>
                  <a:pt x="42" y="38"/>
                  <a:pt x="46" y="34"/>
                  <a:pt x="48" y="29"/>
                </a:cubicBezTo>
                <a:cubicBezTo>
                  <a:pt x="51" y="24"/>
                  <a:pt x="52" y="18"/>
                  <a:pt x="52" y="13"/>
                </a:cubicBezTo>
                <a:cubicBezTo>
                  <a:pt x="52" y="11"/>
                  <a:pt x="52" y="11"/>
                  <a:pt x="52" y="11"/>
                </a:cubicBezTo>
                <a:cubicBezTo>
                  <a:pt x="55" y="10"/>
                  <a:pt x="56" y="8"/>
                  <a:pt x="58" y="5"/>
                </a:cubicBezTo>
                <a:cubicBezTo>
                  <a:pt x="56" y="6"/>
                  <a:pt x="54" y="7"/>
                  <a:pt x="51" y="7"/>
                </a:cubicBezTo>
                <a:close/>
                <a:moveTo>
                  <a:pt x="51" y="7"/>
                </a:moveTo>
                <a:cubicBezTo>
                  <a:pt x="51" y="7"/>
                  <a:pt x="51" y="7"/>
                  <a:pt x="51" y="7"/>
                </a:cubicBezTo>
              </a:path>
            </a:pathLst>
          </a:custGeom>
          <a:solidFill>
            <a:schemeClr val="bg1">
              <a:alpha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807665" y="6248400"/>
            <a:ext cx="379572" cy="365125"/>
          </a:xfrm>
          <a:solidFill>
            <a:schemeClr val="accent3">
              <a:alpha val="5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12037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6AF6C-3552-4908-B2F1-45F9137198C6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solidFill>
            <a:schemeClr val="accent3"/>
          </a:solidFill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8542261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DAEF63-FBF5-4459-BC63-41A148B09500}" type="datetime1">
              <a:rPr lang="en-US" smtClean="0"/>
              <a:t>7/3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solidFill>
            <a:schemeClr val="accent3">
              <a:alpha val="5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6E69268-9C8B-4EBF-A9EE-DC5DC2D48DC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85371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model2">
    <p:bg>
      <p:bgPr>
        <a:gradFill flip="none" rotWithShape="1">
          <a:gsLst>
            <a:gs pos="55000">
              <a:srgbClr val="1181AE"/>
            </a:gs>
            <a:gs pos="0">
              <a:srgbClr val="1181AE"/>
            </a:gs>
            <a:gs pos="100000">
              <a:srgbClr val="095474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17834" y="2870633"/>
            <a:ext cx="5930678" cy="711081"/>
          </a:xfrm>
        </p:spPr>
        <p:txBody>
          <a:bodyPr>
            <a:normAutofit/>
          </a:bodyPr>
          <a:lstStyle>
            <a:lvl1pPr algn="ctr">
              <a:defRPr sz="36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/>
              <a:t>SlideModel.com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1C58C6-F89F-4C17-9A61-D187F67C24C3}" type="datetime1">
              <a:rPr lang="en-US" smtClean="0"/>
              <a:t>7/3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02190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ulo y sub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Marcador de tex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58275" y="1162651"/>
            <a:ext cx="10926936" cy="31803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s-ES_tradnl" sz="1600" dirty="0" smtClean="0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r>
              <a:rPr lang="es-ES"/>
              <a:t> Introducir subtitulo (Arial 16 pts.)</a:t>
            </a:r>
          </a:p>
        </p:txBody>
      </p:sp>
      <p:sp>
        <p:nvSpPr>
          <p:cNvPr id="39" name="Título 9"/>
          <p:cNvSpPr>
            <a:spLocks noGrp="1"/>
          </p:cNvSpPr>
          <p:nvPr>
            <p:ph type="title" hasCustomPrompt="1"/>
          </p:nvPr>
        </p:nvSpPr>
        <p:spPr>
          <a:xfrm>
            <a:off x="658239" y="509175"/>
            <a:ext cx="10930407" cy="637198"/>
          </a:xfrm>
          <a:prstGeom prst="rect">
            <a:avLst/>
          </a:prstGeom>
        </p:spPr>
        <p:txBody>
          <a:bodyPr lIns="0" anchor="b"/>
          <a:lstStyle>
            <a:lvl1pPr>
              <a:defRPr baseline="0"/>
            </a:lvl1pPr>
          </a:lstStyle>
          <a:p>
            <a:r>
              <a:rPr lang="es-ES"/>
              <a:t>Introducir título o hilo argumental (Arial 22 </a:t>
            </a:r>
            <a:r>
              <a:rPr lang="es-ES" err="1"/>
              <a:t>ptos</a:t>
            </a:r>
            <a:r>
              <a:rPr lang="es-ES"/>
              <a:t>, negrita)</a:t>
            </a:r>
          </a:p>
        </p:txBody>
      </p:sp>
    </p:spTree>
    <p:extLst>
      <p:ext uri="{BB962C8B-B14F-4D97-AF65-F5344CB8AC3E}">
        <p14:creationId xmlns:p14="http://schemas.microsoft.com/office/powerpoint/2010/main" val="20275874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y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cto 4"/>
          <p:cNvCxnSpPr/>
          <p:nvPr userDrawn="1"/>
        </p:nvCxnSpPr>
        <p:spPr>
          <a:xfrm>
            <a:off x="675918" y="5773073"/>
            <a:ext cx="1082338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arcador de contenido 11"/>
          <p:cNvSpPr>
            <a:spLocks noGrp="1"/>
          </p:cNvSpPr>
          <p:nvPr>
            <p:ph sz="quarter" idx="12" hasCustomPrompt="1"/>
          </p:nvPr>
        </p:nvSpPr>
        <p:spPr>
          <a:xfrm>
            <a:off x="675918" y="5869998"/>
            <a:ext cx="10823380" cy="7461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el texto del </a:t>
            </a:r>
            <a:r>
              <a:rPr lang="es-ES" err="1"/>
              <a:t>kicker</a:t>
            </a:r>
            <a:r>
              <a:rPr lang="es-ES"/>
              <a:t> (Texto en Arial 18 pts., color negro)</a:t>
            </a:r>
          </a:p>
        </p:txBody>
      </p:sp>
      <p:sp>
        <p:nvSpPr>
          <p:cNvPr id="7" name="Marcador de texto 8">
            <a:extLst>
              <a:ext uri="{FF2B5EF4-FFF2-40B4-BE49-F238E27FC236}">
                <a16:creationId xmlns:a16="http://schemas.microsoft.com/office/drawing/2014/main" id="{28A2D139-6BB1-4E95-9D7B-C68948DEBB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275" y="1162651"/>
            <a:ext cx="10926936" cy="31803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s-ES_tradnl" sz="1600" dirty="0" smtClean="0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r>
              <a:rPr lang="es-ES"/>
              <a:t> Introducir subtitulo (Arial 16 pts.)</a:t>
            </a:r>
          </a:p>
        </p:txBody>
      </p:sp>
      <p:sp>
        <p:nvSpPr>
          <p:cNvPr id="8" name="Título 9">
            <a:extLst>
              <a:ext uri="{FF2B5EF4-FFF2-40B4-BE49-F238E27FC236}">
                <a16:creationId xmlns:a16="http://schemas.microsoft.com/office/drawing/2014/main" id="{09764F18-C6FA-45BA-A1CD-159C79D96A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239" y="509175"/>
            <a:ext cx="10930407" cy="637198"/>
          </a:xfrm>
          <a:prstGeom prst="rect">
            <a:avLst/>
          </a:prstGeom>
        </p:spPr>
        <p:txBody>
          <a:bodyPr lIns="0" anchor="b"/>
          <a:lstStyle>
            <a:lvl1pPr>
              <a:defRPr baseline="0"/>
            </a:lvl1pPr>
          </a:lstStyle>
          <a:p>
            <a:r>
              <a:rPr lang="es-ES"/>
              <a:t>Introducir título o hilo argumental (Arial 22 </a:t>
            </a:r>
            <a:r>
              <a:rPr lang="es-ES" err="1"/>
              <a:t>ptos</a:t>
            </a:r>
            <a:r>
              <a:rPr lang="es-ES"/>
              <a:t>, negrita)</a:t>
            </a:r>
          </a:p>
        </p:txBody>
      </p:sp>
    </p:spTree>
    <p:extLst>
      <p:ext uri="{BB962C8B-B14F-4D97-AF65-F5344CB8AC3E}">
        <p14:creationId xmlns:p14="http://schemas.microsoft.com/office/powerpoint/2010/main" val="15846576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ángulo 45"/>
          <p:cNvSpPr/>
          <p:nvPr userDrawn="1"/>
        </p:nvSpPr>
        <p:spPr>
          <a:xfrm>
            <a:off x="-54210" y="1968"/>
            <a:ext cx="12188825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pic>
        <p:nvPicPr>
          <p:cNvPr id="14" name="Imagen 2">
            <a:extLst>
              <a:ext uri="{FF2B5EF4-FFF2-40B4-BE49-F238E27FC236}">
                <a16:creationId xmlns:a16="http://schemas.microsoft.com/office/drawing/2014/main" id="{A439F573-D404-4016-9BF9-BFD1AD0698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659" t="8430" b="2992"/>
          <a:stretch/>
        </p:blipFill>
        <p:spPr>
          <a:xfrm>
            <a:off x="-54091" y="0"/>
            <a:ext cx="5325579" cy="6862248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8A0BD222-F817-4D7A-B36A-1402C6E597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8077" y="5969548"/>
            <a:ext cx="2803430" cy="627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3439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ángulo 45"/>
          <p:cNvSpPr/>
          <p:nvPr userDrawn="1"/>
        </p:nvSpPr>
        <p:spPr>
          <a:xfrm>
            <a:off x="1" y="0"/>
            <a:ext cx="12188825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0" hasCustomPrompt="1"/>
          </p:nvPr>
        </p:nvSpPr>
        <p:spPr>
          <a:xfrm>
            <a:off x="2052751" y="2221833"/>
            <a:ext cx="984482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r>
              <a:rPr lang="es-ES_tradnl"/>
              <a:t>01</a:t>
            </a:r>
          </a:p>
        </p:txBody>
      </p:sp>
      <p:sp>
        <p:nvSpPr>
          <p:cNvPr id="5" name="Marcador de texto 2"/>
          <p:cNvSpPr>
            <a:spLocks noGrp="1"/>
          </p:cNvSpPr>
          <p:nvPr>
            <p:ph type="body" sz="quarter" idx="11"/>
          </p:nvPr>
        </p:nvSpPr>
        <p:spPr>
          <a:xfrm>
            <a:off x="3188909" y="2221833"/>
            <a:ext cx="6809334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endParaRPr lang="es-ES_tradnl"/>
          </a:p>
        </p:txBody>
      </p:sp>
      <p:cxnSp>
        <p:nvCxnSpPr>
          <p:cNvPr id="6" name="Conector recto 5"/>
          <p:cNvCxnSpPr/>
          <p:nvPr userDrawn="1"/>
        </p:nvCxnSpPr>
        <p:spPr>
          <a:xfrm>
            <a:off x="2885556" y="2221832"/>
            <a:ext cx="0" cy="3312000"/>
          </a:xfrm>
          <a:prstGeom prst="line">
            <a:avLst/>
          </a:prstGeom>
          <a:ln w="1270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052751" y="2879058"/>
            <a:ext cx="984482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accent3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r>
              <a:rPr lang="es-ES_tradnl"/>
              <a:t>02</a:t>
            </a:r>
          </a:p>
        </p:txBody>
      </p:sp>
      <p:sp>
        <p:nvSpPr>
          <p:cNvPr id="9" name="Marcador de texto 2"/>
          <p:cNvSpPr>
            <a:spLocks noGrp="1"/>
          </p:cNvSpPr>
          <p:nvPr>
            <p:ph type="body" sz="quarter" idx="13"/>
          </p:nvPr>
        </p:nvSpPr>
        <p:spPr>
          <a:xfrm>
            <a:off x="3188909" y="2879058"/>
            <a:ext cx="6809334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>
                <a:solidFill>
                  <a:schemeClr val="bg1">
                    <a:lumMod val="75000"/>
                  </a:schemeClr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endParaRPr lang="es-ES_tradnl"/>
          </a:p>
        </p:txBody>
      </p:sp>
      <p:sp>
        <p:nvSpPr>
          <p:cNvPr id="10" name="Marcador de texto 2"/>
          <p:cNvSpPr>
            <a:spLocks noGrp="1"/>
          </p:cNvSpPr>
          <p:nvPr>
            <p:ph type="body" sz="quarter" idx="14" hasCustomPrompt="1"/>
          </p:nvPr>
        </p:nvSpPr>
        <p:spPr>
          <a:xfrm>
            <a:off x="2052751" y="3536283"/>
            <a:ext cx="984482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accent3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r>
              <a:rPr lang="es-ES_tradnl"/>
              <a:t>03</a:t>
            </a: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5"/>
          </p:nvPr>
        </p:nvSpPr>
        <p:spPr>
          <a:xfrm>
            <a:off x="3188909" y="3536283"/>
            <a:ext cx="6809334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>
                <a:solidFill>
                  <a:schemeClr val="bg1">
                    <a:lumMod val="75000"/>
                  </a:schemeClr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endParaRPr lang="es-ES_tradnl"/>
          </a:p>
        </p:txBody>
      </p:sp>
      <p:sp>
        <p:nvSpPr>
          <p:cNvPr id="13" name="Marcador de texto 2"/>
          <p:cNvSpPr>
            <a:spLocks noGrp="1"/>
          </p:cNvSpPr>
          <p:nvPr>
            <p:ph type="body" sz="quarter" idx="16" hasCustomPrompt="1"/>
          </p:nvPr>
        </p:nvSpPr>
        <p:spPr>
          <a:xfrm>
            <a:off x="2052751" y="4193508"/>
            <a:ext cx="984482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accent3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r>
              <a:rPr lang="es-ES_tradnl"/>
              <a:t>04</a:t>
            </a:r>
          </a:p>
        </p:txBody>
      </p:sp>
      <p:sp>
        <p:nvSpPr>
          <p:cNvPr id="14" name="Marcador de texto 2"/>
          <p:cNvSpPr>
            <a:spLocks noGrp="1"/>
          </p:cNvSpPr>
          <p:nvPr>
            <p:ph type="body" sz="quarter" idx="17"/>
          </p:nvPr>
        </p:nvSpPr>
        <p:spPr>
          <a:xfrm>
            <a:off x="3188909" y="4193508"/>
            <a:ext cx="6809334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>
                <a:solidFill>
                  <a:schemeClr val="bg1">
                    <a:lumMod val="75000"/>
                  </a:schemeClr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endParaRPr lang="es-ES_tradnl"/>
          </a:p>
        </p:txBody>
      </p:sp>
      <p:sp>
        <p:nvSpPr>
          <p:cNvPr id="15" name="Marcador de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2052751" y="4864588"/>
            <a:ext cx="984482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accent3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r>
              <a:rPr lang="es-ES_tradnl"/>
              <a:t>05</a:t>
            </a:r>
          </a:p>
        </p:txBody>
      </p:sp>
      <p:sp>
        <p:nvSpPr>
          <p:cNvPr id="16" name="Marcador de texto 2"/>
          <p:cNvSpPr>
            <a:spLocks noGrp="1"/>
          </p:cNvSpPr>
          <p:nvPr>
            <p:ph type="body" sz="quarter" idx="19"/>
          </p:nvPr>
        </p:nvSpPr>
        <p:spPr>
          <a:xfrm>
            <a:off x="3188909" y="4864588"/>
            <a:ext cx="6809334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>
                <a:solidFill>
                  <a:schemeClr val="bg1">
                    <a:lumMod val="75000"/>
                  </a:schemeClr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endParaRPr lang="es-ES_tradnl"/>
          </a:p>
        </p:txBody>
      </p:sp>
      <p:sp>
        <p:nvSpPr>
          <p:cNvPr id="21" name="Marcador de texto 20"/>
          <p:cNvSpPr>
            <a:spLocks noGrp="1"/>
          </p:cNvSpPr>
          <p:nvPr>
            <p:ph type="body" sz="quarter" idx="20" hasCustomPrompt="1"/>
          </p:nvPr>
        </p:nvSpPr>
        <p:spPr>
          <a:xfrm>
            <a:off x="2052752" y="885644"/>
            <a:ext cx="4831220" cy="806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>
                <a:solidFill>
                  <a:schemeClr val="accent1"/>
                </a:solidFill>
              </a:defRPr>
            </a:lvl1pPr>
            <a:lvl2pPr marL="180975" indent="0">
              <a:buNone/>
              <a:defRPr sz="4000"/>
            </a:lvl2pPr>
            <a:lvl3pPr marL="361950" indent="0">
              <a:buNone/>
              <a:defRPr sz="4000"/>
            </a:lvl3pPr>
            <a:lvl4pPr marL="1419225" indent="0">
              <a:buNone/>
              <a:defRPr sz="4000"/>
            </a:lvl4pPr>
            <a:lvl5pPr marL="1876425" indent="0">
              <a:buNone/>
              <a:defRPr sz="4000"/>
            </a:lvl5pPr>
          </a:lstStyle>
          <a:p>
            <a:pPr lvl="0"/>
            <a:r>
              <a:rPr lang="es-ES_tradnl"/>
              <a:t>Índice (insertar)</a:t>
            </a:r>
          </a:p>
        </p:txBody>
      </p:sp>
    </p:spTree>
    <p:extLst>
      <p:ext uri="{BB962C8B-B14F-4D97-AF65-F5344CB8AC3E}">
        <p14:creationId xmlns:p14="http://schemas.microsoft.com/office/powerpoint/2010/main" val="28336863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50DC30-E445-48ED-81E5-7D5AEA542724}" type="datetime1">
              <a:rPr lang="en-US" smtClean="0"/>
              <a:t>7/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236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 subpun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ángulo 45"/>
          <p:cNvSpPr/>
          <p:nvPr userDrawn="1"/>
        </p:nvSpPr>
        <p:spPr>
          <a:xfrm>
            <a:off x="1" y="0"/>
            <a:ext cx="12188825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0" hasCustomPrompt="1"/>
          </p:nvPr>
        </p:nvSpPr>
        <p:spPr>
          <a:xfrm>
            <a:off x="2052751" y="2221833"/>
            <a:ext cx="984482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r>
              <a:rPr lang="es-ES_tradnl"/>
              <a:t>01</a:t>
            </a:r>
          </a:p>
        </p:txBody>
      </p:sp>
      <p:sp>
        <p:nvSpPr>
          <p:cNvPr id="5" name="Marcador de texto 2"/>
          <p:cNvSpPr>
            <a:spLocks noGrp="1"/>
          </p:cNvSpPr>
          <p:nvPr>
            <p:ph type="body" sz="quarter" idx="11"/>
          </p:nvPr>
        </p:nvSpPr>
        <p:spPr>
          <a:xfrm>
            <a:off x="3188909" y="2221833"/>
            <a:ext cx="6809334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endParaRPr lang="es-ES_tradnl"/>
          </a:p>
        </p:txBody>
      </p:sp>
      <p:cxnSp>
        <p:nvCxnSpPr>
          <p:cNvPr id="6" name="Conector recto 5"/>
          <p:cNvCxnSpPr/>
          <p:nvPr userDrawn="1"/>
        </p:nvCxnSpPr>
        <p:spPr>
          <a:xfrm>
            <a:off x="2885556" y="2221833"/>
            <a:ext cx="0" cy="3932689"/>
          </a:xfrm>
          <a:prstGeom prst="line">
            <a:avLst/>
          </a:prstGeom>
          <a:ln w="1270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2052751" y="3511767"/>
            <a:ext cx="984482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accent3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r>
              <a:rPr lang="es-ES_tradnl"/>
              <a:t>02</a:t>
            </a:r>
          </a:p>
        </p:txBody>
      </p:sp>
      <p:sp>
        <p:nvSpPr>
          <p:cNvPr id="9" name="Marcador de texto 2"/>
          <p:cNvSpPr>
            <a:spLocks noGrp="1"/>
          </p:cNvSpPr>
          <p:nvPr>
            <p:ph type="body" sz="quarter" idx="13"/>
          </p:nvPr>
        </p:nvSpPr>
        <p:spPr>
          <a:xfrm>
            <a:off x="3188909" y="3511767"/>
            <a:ext cx="6809334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>
                <a:solidFill>
                  <a:schemeClr val="bg1">
                    <a:lumMod val="75000"/>
                  </a:schemeClr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endParaRPr lang="es-ES_tradnl"/>
          </a:p>
        </p:txBody>
      </p:sp>
      <p:sp>
        <p:nvSpPr>
          <p:cNvPr id="10" name="Marcador de texto 2"/>
          <p:cNvSpPr>
            <a:spLocks noGrp="1"/>
          </p:cNvSpPr>
          <p:nvPr>
            <p:ph type="body" sz="quarter" idx="14" hasCustomPrompt="1"/>
          </p:nvPr>
        </p:nvSpPr>
        <p:spPr>
          <a:xfrm>
            <a:off x="2052751" y="4168992"/>
            <a:ext cx="984482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accent3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r>
              <a:rPr lang="es-ES_tradnl"/>
              <a:t>03</a:t>
            </a: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5"/>
          </p:nvPr>
        </p:nvSpPr>
        <p:spPr>
          <a:xfrm>
            <a:off x="3188909" y="4168992"/>
            <a:ext cx="6809334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>
                <a:solidFill>
                  <a:schemeClr val="bg1">
                    <a:lumMod val="75000"/>
                  </a:schemeClr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endParaRPr lang="es-ES_tradnl"/>
          </a:p>
        </p:txBody>
      </p:sp>
      <p:sp>
        <p:nvSpPr>
          <p:cNvPr id="13" name="Marcador de texto 2"/>
          <p:cNvSpPr>
            <a:spLocks noGrp="1"/>
          </p:cNvSpPr>
          <p:nvPr>
            <p:ph type="body" sz="quarter" idx="16" hasCustomPrompt="1"/>
          </p:nvPr>
        </p:nvSpPr>
        <p:spPr>
          <a:xfrm>
            <a:off x="2052751" y="4826217"/>
            <a:ext cx="984482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accent3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r>
              <a:rPr lang="es-ES_tradnl"/>
              <a:t>04</a:t>
            </a:r>
          </a:p>
        </p:txBody>
      </p:sp>
      <p:sp>
        <p:nvSpPr>
          <p:cNvPr id="14" name="Marcador de texto 2"/>
          <p:cNvSpPr>
            <a:spLocks noGrp="1"/>
          </p:cNvSpPr>
          <p:nvPr>
            <p:ph type="body" sz="quarter" idx="17"/>
          </p:nvPr>
        </p:nvSpPr>
        <p:spPr>
          <a:xfrm>
            <a:off x="3188909" y="4826217"/>
            <a:ext cx="6809334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>
                <a:solidFill>
                  <a:schemeClr val="bg1">
                    <a:lumMod val="75000"/>
                  </a:schemeClr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endParaRPr lang="es-ES_tradnl"/>
          </a:p>
        </p:txBody>
      </p:sp>
      <p:sp>
        <p:nvSpPr>
          <p:cNvPr id="15" name="Marcador de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2052751" y="5497297"/>
            <a:ext cx="984482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200" b="1">
                <a:solidFill>
                  <a:schemeClr val="accent3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r>
              <a:rPr lang="es-ES_tradnl"/>
              <a:t>05</a:t>
            </a:r>
          </a:p>
        </p:txBody>
      </p:sp>
      <p:sp>
        <p:nvSpPr>
          <p:cNvPr id="16" name="Marcador de texto 2"/>
          <p:cNvSpPr>
            <a:spLocks noGrp="1"/>
          </p:cNvSpPr>
          <p:nvPr>
            <p:ph type="body" sz="quarter" idx="19"/>
          </p:nvPr>
        </p:nvSpPr>
        <p:spPr>
          <a:xfrm>
            <a:off x="3188909" y="5497297"/>
            <a:ext cx="6809334" cy="6572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>
                <a:solidFill>
                  <a:schemeClr val="bg1">
                    <a:lumMod val="75000"/>
                  </a:schemeClr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419225" indent="0">
              <a:buNone/>
              <a:defRPr/>
            </a:lvl4pPr>
            <a:lvl5pPr marL="1876425" indent="0">
              <a:buNone/>
              <a:defRPr/>
            </a:lvl5pPr>
          </a:lstStyle>
          <a:p>
            <a:pPr lvl="0"/>
            <a:endParaRPr lang="es-ES_tradnl"/>
          </a:p>
        </p:txBody>
      </p:sp>
      <p:sp>
        <p:nvSpPr>
          <p:cNvPr id="7" name="Marcador de texto 6"/>
          <p:cNvSpPr>
            <a:spLocks noGrp="1"/>
          </p:cNvSpPr>
          <p:nvPr>
            <p:ph type="body" sz="quarter" idx="20"/>
          </p:nvPr>
        </p:nvSpPr>
        <p:spPr>
          <a:xfrm>
            <a:off x="4930224" y="2743201"/>
            <a:ext cx="5068911" cy="72231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>
                    <a:lumMod val="75000"/>
                  </a:schemeClr>
                </a:solidFill>
              </a:defRPr>
            </a:lvl1pPr>
            <a:lvl2pPr marL="180975" indent="0">
              <a:buNone/>
              <a:defRPr sz="1400"/>
            </a:lvl2pPr>
            <a:lvl3pPr marL="361950" indent="0">
              <a:buNone/>
              <a:defRPr sz="1400"/>
            </a:lvl3pPr>
            <a:lvl4pPr marL="1419225" indent="0">
              <a:buNone/>
              <a:defRPr sz="1400"/>
            </a:lvl4pPr>
            <a:lvl5pPr marL="1876425" indent="0">
              <a:buNone/>
              <a:defRPr sz="1400"/>
            </a:lvl5pPr>
          </a:lstStyle>
          <a:p>
            <a:pPr lvl="0"/>
            <a:endParaRPr lang="es-ES"/>
          </a:p>
        </p:txBody>
      </p:sp>
      <p:sp>
        <p:nvSpPr>
          <p:cNvPr id="18" name="Marcador de texto 20"/>
          <p:cNvSpPr>
            <a:spLocks noGrp="1"/>
          </p:cNvSpPr>
          <p:nvPr>
            <p:ph type="body" sz="quarter" idx="21" hasCustomPrompt="1"/>
          </p:nvPr>
        </p:nvSpPr>
        <p:spPr>
          <a:xfrm>
            <a:off x="2052752" y="885644"/>
            <a:ext cx="4831220" cy="806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>
                <a:solidFill>
                  <a:schemeClr val="accent1"/>
                </a:solidFill>
              </a:defRPr>
            </a:lvl1pPr>
            <a:lvl2pPr marL="180975" indent="0">
              <a:buNone/>
              <a:defRPr sz="4000"/>
            </a:lvl2pPr>
            <a:lvl3pPr marL="361950" indent="0">
              <a:buNone/>
              <a:defRPr sz="4000"/>
            </a:lvl3pPr>
            <a:lvl4pPr marL="1419225" indent="0">
              <a:buNone/>
              <a:defRPr sz="4000"/>
            </a:lvl4pPr>
            <a:lvl5pPr marL="1876425" indent="0">
              <a:buNone/>
              <a:defRPr sz="4000"/>
            </a:lvl5pPr>
          </a:lstStyle>
          <a:p>
            <a:pPr lvl="0"/>
            <a:r>
              <a:rPr lang="es-ES_tradnl"/>
              <a:t>Índice (insertar)</a:t>
            </a:r>
          </a:p>
        </p:txBody>
      </p:sp>
    </p:spTree>
    <p:extLst>
      <p:ext uri="{BB962C8B-B14F-4D97-AF65-F5344CB8AC3E}">
        <p14:creationId xmlns:p14="http://schemas.microsoft.com/office/powerpoint/2010/main" val="11756458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ángulo 45"/>
          <p:cNvSpPr/>
          <p:nvPr userDrawn="1"/>
        </p:nvSpPr>
        <p:spPr>
          <a:xfrm>
            <a:off x="-54210" y="1968"/>
            <a:ext cx="12188825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10" name="Rectángulo 9"/>
          <p:cNvSpPr/>
          <p:nvPr userDrawn="1"/>
        </p:nvSpPr>
        <p:spPr>
          <a:xfrm>
            <a:off x="-37757" y="10672"/>
            <a:ext cx="12226581" cy="68580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100">
              <a:solidFill>
                <a:schemeClr val="tx1"/>
              </a:solidFill>
            </a:endParaRPr>
          </a:p>
        </p:txBody>
      </p:sp>
      <p:cxnSp>
        <p:nvCxnSpPr>
          <p:cNvPr id="14" name="Conector recto 13"/>
          <p:cNvCxnSpPr/>
          <p:nvPr/>
        </p:nvCxnSpPr>
        <p:spPr>
          <a:xfrm>
            <a:off x="6456748" y="2952355"/>
            <a:ext cx="0" cy="315864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arcador de texto 3"/>
          <p:cNvSpPr>
            <a:spLocks noGrp="1"/>
          </p:cNvSpPr>
          <p:nvPr>
            <p:ph type="body" sz="quarter" idx="10"/>
          </p:nvPr>
        </p:nvSpPr>
        <p:spPr>
          <a:xfrm>
            <a:off x="1005969" y="2952355"/>
            <a:ext cx="5188064" cy="3152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</a:defRPr>
            </a:lvl1pPr>
            <a:lvl2pPr marL="180975" indent="0">
              <a:buNone/>
              <a:defRPr sz="4800"/>
            </a:lvl2pPr>
            <a:lvl3pPr marL="361950" indent="0">
              <a:buNone/>
              <a:defRPr sz="4800"/>
            </a:lvl3pPr>
            <a:lvl4pPr marL="1419225" indent="0">
              <a:buNone/>
              <a:defRPr sz="4800"/>
            </a:lvl4pPr>
            <a:lvl5pPr marL="1876425" indent="0">
              <a:buNone/>
              <a:defRPr sz="4800"/>
            </a:lvl5pPr>
          </a:lstStyle>
          <a:p>
            <a:pPr lvl="0"/>
            <a:r>
              <a:rPr lang="es-ES"/>
              <a:t>Haga clic para modificar el estilo de texto</a:t>
            </a:r>
            <a:endParaRPr lang="es-ES_tradnl"/>
          </a:p>
        </p:txBody>
      </p:sp>
      <p:sp>
        <p:nvSpPr>
          <p:cNvPr id="17" name="Marcador de texto 16"/>
          <p:cNvSpPr>
            <a:spLocks noGrp="1"/>
          </p:cNvSpPr>
          <p:nvPr>
            <p:ph type="body" sz="quarter" idx="11"/>
          </p:nvPr>
        </p:nvSpPr>
        <p:spPr>
          <a:xfrm>
            <a:off x="6711119" y="2952354"/>
            <a:ext cx="4760284" cy="215265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0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817470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ADRO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6 Rectángulo"/>
          <p:cNvSpPr/>
          <p:nvPr userDrawn="1"/>
        </p:nvSpPr>
        <p:spPr bwMode="auto">
          <a:xfrm>
            <a:off x="3747598" y="5988818"/>
            <a:ext cx="3322581" cy="8621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s-ES_trad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r>
              <a:rPr kumimoji="0" lang="es-ES" sz="800" b="0" i="0" u="none" strike="noStrike" cap="none" normalizeH="0" baseline="0">
                <a:ln>
                  <a:noFill/>
                </a:ln>
                <a:solidFill>
                  <a:srgbClr val="5F5F5F"/>
                </a:solidFill>
                <a:effectLst/>
                <a:latin typeface="Arial" charset="0"/>
              </a:rPr>
              <a:t>Nombre del Fichero 	</a:t>
            </a:r>
            <a:fld id="{E92ADA9A-3478-4E1E-97E5-89FBE0E6B9D1}" type="slidenum">
              <a:rPr kumimoji="0" lang="es-ES" sz="800" b="0" i="0" u="none" strike="noStrike" cap="none" normalizeH="0" baseline="0" smtClean="0">
                <a:ln>
                  <a:noFill/>
                </a:ln>
                <a:solidFill>
                  <a:srgbClr val="5F5F5F"/>
                </a:solidFill>
                <a:effectLst/>
                <a:latin typeface="Arial" charset="0"/>
              </a:rPr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</a:pPr>
              <a:t>‹Nº›</a:t>
            </a:fld>
            <a:endParaRPr kumimoji="0" lang="es-ES" sz="800" b="0" i="0" u="none" strike="noStrike" cap="none" normalizeH="0" baseline="0">
              <a:ln>
                <a:noFill/>
              </a:ln>
              <a:solidFill>
                <a:srgbClr val="5F5F5F"/>
              </a:solidFill>
              <a:effectLst/>
              <a:latin typeface="Arial" charset="0"/>
            </a:endParaRPr>
          </a:p>
        </p:txBody>
      </p:sp>
      <p:sp>
        <p:nvSpPr>
          <p:cNvPr id="28" name="Marcador de texto 21"/>
          <p:cNvSpPr>
            <a:spLocks noGrp="1"/>
          </p:cNvSpPr>
          <p:nvPr>
            <p:ph type="body" sz="quarter" idx="14" hasCustomPrompt="1"/>
          </p:nvPr>
        </p:nvSpPr>
        <p:spPr>
          <a:xfrm>
            <a:off x="2023810" y="2311442"/>
            <a:ext cx="7639564" cy="914400"/>
          </a:xfrm>
          <a:prstGeom prst="rect">
            <a:avLst/>
          </a:prstGeom>
        </p:spPr>
        <p:txBody>
          <a:bodyPr/>
          <a:lstStyle>
            <a:lvl2pPr marL="466725" indent="-180000">
              <a:buFont typeface="Arial" panose="020B0604020202020204" pitchFamily="34" charset="0"/>
              <a:buChar char="−"/>
              <a:defRPr/>
            </a:lvl2pPr>
            <a:lvl3pPr marL="647700" indent="-180000">
              <a:buFont typeface="Arial" panose="020B0604020202020204" pitchFamily="34" charset="0"/>
              <a:buChar char="−"/>
              <a:defRPr/>
            </a:lvl3pPr>
          </a:lstStyle>
          <a:p>
            <a:pPr lvl="0"/>
            <a:r>
              <a:rPr lang="es-ES"/>
              <a:t>Haga clic para modificar el texto del patrón</a:t>
            </a:r>
          </a:p>
          <a:p>
            <a:pPr lvl="1"/>
            <a:r>
              <a:rPr lang="es-ES"/>
              <a:t>Segundo nivel de texto</a:t>
            </a:r>
          </a:p>
          <a:p>
            <a:pPr lvl="2"/>
            <a:r>
              <a:rPr lang="es-ES"/>
              <a:t>Tercer nivel de texto</a:t>
            </a:r>
          </a:p>
        </p:txBody>
      </p:sp>
      <p:sp>
        <p:nvSpPr>
          <p:cNvPr id="7" name="Marcador de texto 8"/>
          <p:cNvSpPr>
            <a:spLocks noGrp="1"/>
          </p:cNvSpPr>
          <p:nvPr>
            <p:ph type="body" sz="quarter" idx="13" hasCustomPrompt="1"/>
          </p:nvPr>
        </p:nvSpPr>
        <p:spPr>
          <a:xfrm>
            <a:off x="774932" y="1162651"/>
            <a:ext cx="10810279" cy="31803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s-ES_tradnl" sz="1600" dirty="0" smtClean="0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r>
              <a:rPr lang="es-ES"/>
              <a:t> Introducir subtitulo (Arial 16 pts.)</a:t>
            </a:r>
          </a:p>
        </p:txBody>
      </p:sp>
      <p:sp>
        <p:nvSpPr>
          <p:cNvPr id="8" name="Título 9"/>
          <p:cNvSpPr>
            <a:spLocks noGrp="1"/>
          </p:cNvSpPr>
          <p:nvPr>
            <p:ph type="title" hasCustomPrompt="1"/>
          </p:nvPr>
        </p:nvSpPr>
        <p:spPr>
          <a:xfrm>
            <a:off x="774932" y="509175"/>
            <a:ext cx="10813714" cy="637198"/>
          </a:xfrm>
          <a:prstGeom prst="rect">
            <a:avLst/>
          </a:prstGeom>
        </p:spPr>
        <p:txBody>
          <a:bodyPr lIns="0" anchor="b"/>
          <a:lstStyle>
            <a:lvl1pPr>
              <a:defRPr baseline="0"/>
            </a:lvl1pPr>
          </a:lstStyle>
          <a:p>
            <a:r>
              <a:rPr lang="es-ES"/>
              <a:t>Introducir título o hilo argumental (Arial 22 </a:t>
            </a:r>
            <a:r>
              <a:rPr lang="es-ES" err="1"/>
              <a:t>ptos</a:t>
            </a:r>
            <a:r>
              <a:rPr lang="es-ES"/>
              <a:t>, negrita)</a:t>
            </a:r>
          </a:p>
        </p:txBody>
      </p:sp>
    </p:spTree>
    <p:extLst>
      <p:ext uri="{BB962C8B-B14F-4D97-AF65-F5344CB8AC3E}">
        <p14:creationId xmlns:p14="http://schemas.microsoft.com/office/powerpoint/2010/main" val="34756519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ADRICULA MÁRGE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Agrupar 2"/>
          <p:cNvGrpSpPr/>
          <p:nvPr userDrawn="1"/>
        </p:nvGrpSpPr>
        <p:grpSpPr>
          <a:xfrm>
            <a:off x="176466" y="149469"/>
            <a:ext cx="12012359" cy="6618096"/>
            <a:chOff x="60854" y="119952"/>
            <a:chExt cx="9762584" cy="6618096"/>
          </a:xfrm>
        </p:grpSpPr>
        <p:cxnSp>
          <p:nvCxnSpPr>
            <p:cNvPr id="21" name="Straight Connector 10"/>
            <p:cNvCxnSpPr/>
            <p:nvPr/>
          </p:nvCxnSpPr>
          <p:spPr>
            <a:xfrm>
              <a:off x="9335665" y="119952"/>
              <a:ext cx="0" cy="6618096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11"/>
            <p:cNvCxnSpPr/>
            <p:nvPr/>
          </p:nvCxnSpPr>
          <p:spPr>
            <a:xfrm>
              <a:off x="548628" y="119952"/>
              <a:ext cx="0" cy="6618096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8"/>
            <p:cNvCxnSpPr/>
            <p:nvPr/>
          </p:nvCxnSpPr>
          <p:spPr>
            <a:xfrm>
              <a:off x="4870642" y="567480"/>
              <a:ext cx="0" cy="5732846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9"/>
            <p:cNvCxnSpPr/>
            <p:nvPr/>
          </p:nvCxnSpPr>
          <p:spPr>
            <a:xfrm>
              <a:off x="5013649" y="567480"/>
              <a:ext cx="0" cy="5732846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6"/>
            <p:cNvCxnSpPr/>
            <p:nvPr/>
          </p:nvCxnSpPr>
          <p:spPr>
            <a:xfrm>
              <a:off x="7103153" y="567480"/>
              <a:ext cx="0" cy="5732846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7"/>
            <p:cNvCxnSpPr/>
            <p:nvPr/>
          </p:nvCxnSpPr>
          <p:spPr>
            <a:xfrm>
              <a:off x="7246161" y="567480"/>
              <a:ext cx="0" cy="5732846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4"/>
            <p:cNvCxnSpPr/>
            <p:nvPr/>
          </p:nvCxnSpPr>
          <p:spPr>
            <a:xfrm rot="16200000">
              <a:off x="4942146" y="-1999634"/>
              <a:ext cx="0" cy="8787035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5"/>
            <p:cNvCxnSpPr/>
            <p:nvPr/>
          </p:nvCxnSpPr>
          <p:spPr>
            <a:xfrm flipV="1">
              <a:off x="548628" y="2520314"/>
              <a:ext cx="8787035" cy="1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1"/>
            <p:cNvCxnSpPr/>
            <p:nvPr/>
          </p:nvCxnSpPr>
          <p:spPr>
            <a:xfrm>
              <a:off x="2638132" y="567480"/>
              <a:ext cx="0" cy="5732846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2"/>
            <p:cNvCxnSpPr/>
            <p:nvPr/>
          </p:nvCxnSpPr>
          <p:spPr>
            <a:xfrm>
              <a:off x="2781139" y="567480"/>
              <a:ext cx="0" cy="5732846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23"/>
            <p:cNvCxnSpPr/>
            <p:nvPr/>
          </p:nvCxnSpPr>
          <p:spPr>
            <a:xfrm>
              <a:off x="550023" y="567480"/>
              <a:ext cx="0" cy="5732846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16"/>
            <p:cNvCxnSpPr/>
            <p:nvPr/>
          </p:nvCxnSpPr>
          <p:spPr>
            <a:xfrm>
              <a:off x="60854" y="6300325"/>
              <a:ext cx="9762584" cy="0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17"/>
            <p:cNvCxnSpPr/>
            <p:nvPr/>
          </p:nvCxnSpPr>
          <p:spPr>
            <a:xfrm>
              <a:off x="60854" y="567093"/>
              <a:ext cx="9762584" cy="0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19"/>
            <p:cNvCxnSpPr/>
            <p:nvPr/>
          </p:nvCxnSpPr>
          <p:spPr>
            <a:xfrm rot="16200000">
              <a:off x="4942146" y="-46413"/>
              <a:ext cx="0" cy="8787035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20"/>
            <p:cNvCxnSpPr/>
            <p:nvPr/>
          </p:nvCxnSpPr>
          <p:spPr>
            <a:xfrm flipV="1">
              <a:off x="548628" y="4473535"/>
              <a:ext cx="8787035" cy="1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24"/>
            <p:cNvCxnSpPr/>
            <p:nvPr/>
          </p:nvCxnSpPr>
          <p:spPr>
            <a:xfrm rot="16200000">
              <a:off x="4942146" y="-2400890"/>
              <a:ext cx="0" cy="8787035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24"/>
            <p:cNvCxnSpPr/>
            <p:nvPr/>
          </p:nvCxnSpPr>
          <p:spPr>
            <a:xfrm rot="16200000">
              <a:off x="4942146" y="-248091"/>
              <a:ext cx="0" cy="8787035"/>
            </a:xfrm>
            <a:prstGeom prst="line">
              <a:avLst/>
            </a:prstGeom>
            <a:ln>
              <a:solidFill>
                <a:srgbClr val="BCBCBC">
                  <a:alpha val="30196"/>
                </a:srgb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Marcador de texto 8"/>
          <p:cNvSpPr>
            <a:spLocks noGrp="1"/>
          </p:cNvSpPr>
          <p:nvPr>
            <p:ph type="body" sz="quarter" idx="13" hasCustomPrompt="1"/>
          </p:nvPr>
        </p:nvSpPr>
        <p:spPr>
          <a:xfrm>
            <a:off x="774932" y="1162651"/>
            <a:ext cx="10810279" cy="31803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s-ES_tradnl" sz="1600" dirty="0" smtClean="0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r>
              <a:rPr lang="es-ES"/>
              <a:t> Introducir subtitulo (Arial 16 pts.)</a:t>
            </a:r>
          </a:p>
        </p:txBody>
      </p:sp>
      <p:sp>
        <p:nvSpPr>
          <p:cNvPr id="41" name="Título 9"/>
          <p:cNvSpPr>
            <a:spLocks noGrp="1"/>
          </p:cNvSpPr>
          <p:nvPr>
            <p:ph type="title" hasCustomPrompt="1"/>
          </p:nvPr>
        </p:nvSpPr>
        <p:spPr>
          <a:xfrm>
            <a:off x="774932" y="509175"/>
            <a:ext cx="10813714" cy="637198"/>
          </a:xfrm>
          <a:prstGeom prst="rect">
            <a:avLst/>
          </a:prstGeom>
        </p:spPr>
        <p:txBody>
          <a:bodyPr lIns="0" anchor="b"/>
          <a:lstStyle>
            <a:lvl1pPr>
              <a:defRPr baseline="0"/>
            </a:lvl1pPr>
          </a:lstStyle>
          <a:p>
            <a:r>
              <a:rPr lang="es-ES"/>
              <a:t>Introducir título o hilo argumental (Arial 22 </a:t>
            </a:r>
            <a:r>
              <a:rPr lang="es-ES" err="1"/>
              <a:t>ptos</a:t>
            </a:r>
            <a:r>
              <a:rPr lang="es-ES"/>
              <a:t>, negrita)</a:t>
            </a:r>
          </a:p>
        </p:txBody>
      </p:sp>
    </p:spTree>
    <p:extLst>
      <p:ext uri="{BB962C8B-B14F-4D97-AF65-F5344CB8AC3E}">
        <p14:creationId xmlns:p14="http://schemas.microsoft.com/office/powerpoint/2010/main" val="38355478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ángulo 45"/>
          <p:cNvSpPr/>
          <p:nvPr userDrawn="1"/>
        </p:nvSpPr>
        <p:spPr>
          <a:xfrm>
            <a:off x="1" y="0"/>
            <a:ext cx="12188825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</p:spTree>
    <p:extLst>
      <p:ext uri="{BB962C8B-B14F-4D97-AF65-F5344CB8AC3E}">
        <p14:creationId xmlns:p14="http://schemas.microsoft.com/office/powerpoint/2010/main" val="28405727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CADO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ángulo 45"/>
          <p:cNvSpPr/>
          <p:nvPr userDrawn="1"/>
        </p:nvSpPr>
        <p:spPr>
          <a:xfrm>
            <a:off x="1" y="0"/>
            <a:ext cx="12188825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grpSp>
        <p:nvGrpSpPr>
          <p:cNvPr id="3" name="Agrupar 13"/>
          <p:cNvGrpSpPr/>
          <p:nvPr userDrawn="1"/>
        </p:nvGrpSpPr>
        <p:grpSpPr>
          <a:xfrm>
            <a:off x="785671" y="792344"/>
            <a:ext cx="494193" cy="276999"/>
            <a:chOff x="3382493" y="1997314"/>
            <a:chExt cx="401636" cy="276999"/>
          </a:xfrm>
        </p:grpSpPr>
        <p:sp>
          <p:nvSpPr>
            <p:cNvPr id="4" name="Elipse 3"/>
            <p:cNvSpPr/>
            <p:nvPr/>
          </p:nvSpPr>
          <p:spPr>
            <a:xfrm>
              <a:off x="3464290" y="2027647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5" name="CuadroTexto 4"/>
            <p:cNvSpPr txBox="1"/>
            <p:nvPr/>
          </p:nvSpPr>
          <p:spPr>
            <a:xfrm>
              <a:off x="3382493" y="1997314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1</a:t>
              </a:r>
            </a:p>
          </p:txBody>
        </p:sp>
      </p:grpSp>
      <p:grpSp>
        <p:nvGrpSpPr>
          <p:cNvPr id="6" name="Grupo 48"/>
          <p:cNvGrpSpPr/>
          <p:nvPr userDrawn="1"/>
        </p:nvGrpSpPr>
        <p:grpSpPr>
          <a:xfrm>
            <a:off x="785671" y="1170772"/>
            <a:ext cx="494193" cy="276999"/>
            <a:chOff x="3581891" y="4986357"/>
            <a:chExt cx="401636" cy="276999"/>
          </a:xfrm>
        </p:grpSpPr>
        <p:sp>
          <p:nvSpPr>
            <p:cNvPr id="7" name="Elipse 6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8" name="CuadroTexto 7"/>
            <p:cNvSpPr txBox="1"/>
            <p:nvPr/>
          </p:nvSpPr>
          <p:spPr>
            <a:xfrm>
              <a:off x="3581891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2</a:t>
              </a:r>
            </a:p>
          </p:txBody>
        </p:sp>
      </p:grpSp>
      <p:grpSp>
        <p:nvGrpSpPr>
          <p:cNvPr id="9" name="Grupo 69"/>
          <p:cNvGrpSpPr/>
          <p:nvPr userDrawn="1"/>
        </p:nvGrpSpPr>
        <p:grpSpPr>
          <a:xfrm>
            <a:off x="785671" y="1549200"/>
            <a:ext cx="494193" cy="276999"/>
            <a:chOff x="3581891" y="4986357"/>
            <a:chExt cx="401636" cy="276999"/>
          </a:xfrm>
        </p:grpSpPr>
        <p:sp>
          <p:nvSpPr>
            <p:cNvPr id="10" name="Elipse 9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1" name="CuadroTexto 10"/>
            <p:cNvSpPr txBox="1"/>
            <p:nvPr/>
          </p:nvSpPr>
          <p:spPr>
            <a:xfrm>
              <a:off x="3581891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3</a:t>
              </a:r>
            </a:p>
          </p:txBody>
        </p:sp>
      </p:grpSp>
      <p:grpSp>
        <p:nvGrpSpPr>
          <p:cNvPr id="12" name="Grupo 35"/>
          <p:cNvGrpSpPr/>
          <p:nvPr userDrawn="1"/>
        </p:nvGrpSpPr>
        <p:grpSpPr>
          <a:xfrm>
            <a:off x="785671" y="1927628"/>
            <a:ext cx="494193" cy="276999"/>
            <a:chOff x="3581891" y="4986357"/>
            <a:chExt cx="401636" cy="276999"/>
          </a:xfrm>
        </p:grpSpPr>
        <p:sp>
          <p:nvSpPr>
            <p:cNvPr id="13" name="Elipse 12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4" name="CuadroTexto 13"/>
            <p:cNvSpPr txBox="1"/>
            <p:nvPr/>
          </p:nvSpPr>
          <p:spPr>
            <a:xfrm>
              <a:off x="3581891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4</a:t>
              </a:r>
            </a:p>
          </p:txBody>
        </p:sp>
      </p:grpSp>
      <p:grpSp>
        <p:nvGrpSpPr>
          <p:cNvPr id="15" name="Grupo 35"/>
          <p:cNvGrpSpPr/>
          <p:nvPr userDrawn="1"/>
        </p:nvGrpSpPr>
        <p:grpSpPr>
          <a:xfrm>
            <a:off x="785671" y="2306056"/>
            <a:ext cx="494193" cy="276999"/>
            <a:chOff x="3581891" y="4986357"/>
            <a:chExt cx="401636" cy="276999"/>
          </a:xfrm>
        </p:grpSpPr>
        <p:sp>
          <p:nvSpPr>
            <p:cNvPr id="16" name="Elipse 15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7" name="CuadroTexto 16"/>
            <p:cNvSpPr txBox="1"/>
            <p:nvPr/>
          </p:nvSpPr>
          <p:spPr>
            <a:xfrm>
              <a:off x="3581891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5</a:t>
              </a:r>
            </a:p>
          </p:txBody>
        </p:sp>
      </p:grpSp>
      <p:grpSp>
        <p:nvGrpSpPr>
          <p:cNvPr id="18" name="Grupo 35"/>
          <p:cNvGrpSpPr/>
          <p:nvPr userDrawn="1"/>
        </p:nvGrpSpPr>
        <p:grpSpPr>
          <a:xfrm>
            <a:off x="785671" y="2684484"/>
            <a:ext cx="494193" cy="276999"/>
            <a:chOff x="3581891" y="4986357"/>
            <a:chExt cx="401636" cy="276999"/>
          </a:xfrm>
        </p:grpSpPr>
        <p:sp>
          <p:nvSpPr>
            <p:cNvPr id="19" name="Elipse 18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20" name="CuadroTexto 19"/>
            <p:cNvSpPr txBox="1"/>
            <p:nvPr/>
          </p:nvSpPr>
          <p:spPr>
            <a:xfrm>
              <a:off x="3581891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6</a:t>
              </a:r>
            </a:p>
          </p:txBody>
        </p:sp>
      </p:grpSp>
      <p:grpSp>
        <p:nvGrpSpPr>
          <p:cNvPr id="21" name="Grupo 35"/>
          <p:cNvGrpSpPr/>
          <p:nvPr userDrawn="1"/>
        </p:nvGrpSpPr>
        <p:grpSpPr>
          <a:xfrm>
            <a:off x="785671" y="3062912"/>
            <a:ext cx="494193" cy="276999"/>
            <a:chOff x="3581891" y="4986357"/>
            <a:chExt cx="401636" cy="276999"/>
          </a:xfrm>
        </p:grpSpPr>
        <p:sp>
          <p:nvSpPr>
            <p:cNvPr id="22" name="Elipse 21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23" name="CuadroTexto 22"/>
            <p:cNvSpPr txBox="1"/>
            <p:nvPr/>
          </p:nvSpPr>
          <p:spPr>
            <a:xfrm>
              <a:off x="3581891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7</a:t>
              </a:r>
            </a:p>
          </p:txBody>
        </p:sp>
      </p:grpSp>
      <p:grpSp>
        <p:nvGrpSpPr>
          <p:cNvPr id="24" name="Grupo 35"/>
          <p:cNvGrpSpPr/>
          <p:nvPr userDrawn="1"/>
        </p:nvGrpSpPr>
        <p:grpSpPr>
          <a:xfrm>
            <a:off x="785671" y="3441340"/>
            <a:ext cx="494193" cy="276999"/>
            <a:chOff x="3581891" y="4986357"/>
            <a:chExt cx="401636" cy="276999"/>
          </a:xfrm>
        </p:grpSpPr>
        <p:sp>
          <p:nvSpPr>
            <p:cNvPr id="25" name="Elipse 24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26" name="CuadroTexto 25"/>
            <p:cNvSpPr txBox="1"/>
            <p:nvPr/>
          </p:nvSpPr>
          <p:spPr>
            <a:xfrm>
              <a:off x="3581891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8</a:t>
              </a:r>
            </a:p>
          </p:txBody>
        </p:sp>
      </p:grpSp>
      <p:grpSp>
        <p:nvGrpSpPr>
          <p:cNvPr id="27" name="Grupo 35"/>
          <p:cNvGrpSpPr/>
          <p:nvPr userDrawn="1"/>
        </p:nvGrpSpPr>
        <p:grpSpPr>
          <a:xfrm>
            <a:off x="785671" y="3819767"/>
            <a:ext cx="494193" cy="276999"/>
            <a:chOff x="3581891" y="4986357"/>
            <a:chExt cx="401636" cy="276999"/>
          </a:xfrm>
        </p:grpSpPr>
        <p:sp>
          <p:nvSpPr>
            <p:cNvPr id="28" name="Elipse 27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29" name="CuadroTexto 28"/>
            <p:cNvSpPr txBox="1"/>
            <p:nvPr/>
          </p:nvSpPr>
          <p:spPr>
            <a:xfrm>
              <a:off x="3581891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9</a:t>
              </a:r>
            </a:p>
          </p:txBody>
        </p:sp>
      </p:grpSp>
      <p:grpSp>
        <p:nvGrpSpPr>
          <p:cNvPr id="30" name="Grupo 35"/>
          <p:cNvGrpSpPr/>
          <p:nvPr userDrawn="1"/>
        </p:nvGrpSpPr>
        <p:grpSpPr>
          <a:xfrm>
            <a:off x="785671" y="4209052"/>
            <a:ext cx="494193" cy="276999"/>
            <a:chOff x="3581891" y="4997213"/>
            <a:chExt cx="401636" cy="276999"/>
          </a:xfrm>
        </p:grpSpPr>
        <p:sp>
          <p:nvSpPr>
            <p:cNvPr id="31" name="Elipse 30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32" name="CuadroTexto 31"/>
            <p:cNvSpPr txBox="1"/>
            <p:nvPr/>
          </p:nvSpPr>
          <p:spPr>
            <a:xfrm>
              <a:off x="3581891" y="4997213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10</a:t>
              </a:r>
            </a:p>
          </p:txBody>
        </p:sp>
      </p:grpSp>
      <p:grpSp>
        <p:nvGrpSpPr>
          <p:cNvPr id="33" name="Grupo 35"/>
          <p:cNvGrpSpPr/>
          <p:nvPr userDrawn="1"/>
        </p:nvGrpSpPr>
        <p:grpSpPr>
          <a:xfrm>
            <a:off x="785671" y="4576624"/>
            <a:ext cx="494193" cy="276999"/>
            <a:chOff x="3581891" y="4986357"/>
            <a:chExt cx="401636" cy="276999"/>
          </a:xfrm>
        </p:grpSpPr>
        <p:sp>
          <p:nvSpPr>
            <p:cNvPr id="34" name="Elipse 33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35" name="CuadroTexto 34"/>
            <p:cNvSpPr txBox="1"/>
            <p:nvPr/>
          </p:nvSpPr>
          <p:spPr>
            <a:xfrm>
              <a:off x="3581891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11</a:t>
              </a:r>
            </a:p>
          </p:txBody>
        </p:sp>
      </p:grpSp>
      <p:grpSp>
        <p:nvGrpSpPr>
          <p:cNvPr id="36" name="Grupo 35"/>
          <p:cNvGrpSpPr/>
          <p:nvPr userDrawn="1"/>
        </p:nvGrpSpPr>
        <p:grpSpPr>
          <a:xfrm>
            <a:off x="772315" y="4955052"/>
            <a:ext cx="494193" cy="276999"/>
            <a:chOff x="3571037" y="4986357"/>
            <a:chExt cx="401636" cy="276999"/>
          </a:xfrm>
        </p:grpSpPr>
        <p:sp>
          <p:nvSpPr>
            <p:cNvPr id="37" name="Elipse 36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38" name="CuadroTexto 37"/>
            <p:cNvSpPr txBox="1"/>
            <p:nvPr/>
          </p:nvSpPr>
          <p:spPr>
            <a:xfrm>
              <a:off x="3571037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12</a:t>
              </a:r>
            </a:p>
          </p:txBody>
        </p:sp>
      </p:grpSp>
      <p:grpSp>
        <p:nvGrpSpPr>
          <p:cNvPr id="39" name="Grupo 35"/>
          <p:cNvGrpSpPr/>
          <p:nvPr userDrawn="1"/>
        </p:nvGrpSpPr>
        <p:grpSpPr>
          <a:xfrm>
            <a:off x="772315" y="5333480"/>
            <a:ext cx="494193" cy="276999"/>
            <a:chOff x="3571037" y="4986357"/>
            <a:chExt cx="401636" cy="276999"/>
          </a:xfrm>
        </p:grpSpPr>
        <p:sp>
          <p:nvSpPr>
            <p:cNvPr id="40" name="Elipse 39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41" name="CuadroTexto 40"/>
            <p:cNvSpPr txBox="1"/>
            <p:nvPr/>
          </p:nvSpPr>
          <p:spPr>
            <a:xfrm>
              <a:off x="3571037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13</a:t>
              </a:r>
            </a:p>
          </p:txBody>
        </p:sp>
      </p:grpSp>
      <p:grpSp>
        <p:nvGrpSpPr>
          <p:cNvPr id="42" name="Grupo 35"/>
          <p:cNvGrpSpPr/>
          <p:nvPr userDrawn="1"/>
        </p:nvGrpSpPr>
        <p:grpSpPr>
          <a:xfrm>
            <a:off x="772315" y="5711908"/>
            <a:ext cx="494193" cy="276999"/>
            <a:chOff x="3571037" y="4986357"/>
            <a:chExt cx="401636" cy="276999"/>
          </a:xfrm>
        </p:grpSpPr>
        <p:sp>
          <p:nvSpPr>
            <p:cNvPr id="43" name="Elipse 42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44" name="CuadroTexto 43"/>
            <p:cNvSpPr txBox="1"/>
            <p:nvPr/>
          </p:nvSpPr>
          <p:spPr>
            <a:xfrm>
              <a:off x="3571037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14</a:t>
              </a:r>
            </a:p>
          </p:txBody>
        </p:sp>
      </p:grpSp>
      <p:grpSp>
        <p:nvGrpSpPr>
          <p:cNvPr id="45" name="Grupo 35"/>
          <p:cNvGrpSpPr/>
          <p:nvPr userDrawn="1"/>
        </p:nvGrpSpPr>
        <p:grpSpPr>
          <a:xfrm>
            <a:off x="772315" y="6090338"/>
            <a:ext cx="494193" cy="276999"/>
            <a:chOff x="3571037" y="4986357"/>
            <a:chExt cx="401636" cy="276999"/>
          </a:xfrm>
        </p:grpSpPr>
        <p:sp>
          <p:nvSpPr>
            <p:cNvPr id="47" name="Elipse 46"/>
            <p:cNvSpPr/>
            <p:nvPr/>
          </p:nvSpPr>
          <p:spPr>
            <a:xfrm>
              <a:off x="3663688" y="5016690"/>
              <a:ext cx="238043" cy="2380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48" name="CuadroTexto 47"/>
            <p:cNvSpPr txBox="1"/>
            <p:nvPr/>
          </p:nvSpPr>
          <p:spPr>
            <a:xfrm>
              <a:off x="3571037" y="4986357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/>
                  <a:cs typeface="Arial"/>
                </a:rPr>
                <a:t>15</a:t>
              </a:r>
            </a:p>
          </p:txBody>
        </p:sp>
      </p:grpSp>
      <p:grpSp>
        <p:nvGrpSpPr>
          <p:cNvPr id="49" name="Agrupar 93"/>
          <p:cNvGrpSpPr/>
          <p:nvPr userDrawn="1"/>
        </p:nvGrpSpPr>
        <p:grpSpPr>
          <a:xfrm>
            <a:off x="2033203" y="807320"/>
            <a:ext cx="494193" cy="319544"/>
            <a:chOff x="1652408" y="807320"/>
            <a:chExt cx="401636" cy="319544"/>
          </a:xfrm>
        </p:grpSpPr>
        <p:sp>
          <p:nvSpPr>
            <p:cNvPr id="50" name="Elipse 49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51" name="CuadroTexto 50"/>
            <p:cNvSpPr txBox="1"/>
            <p:nvPr/>
          </p:nvSpPr>
          <p:spPr>
            <a:xfrm>
              <a:off x="1652408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1</a:t>
              </a:r>
            </a:p>
          </p:txBody>
        </p:sp>
      </p:grpSp>
      <p:grpSp>
        <p:nvGrpSpPr>
          <p:cNvPr id="52" name="Agrupar 94"/>
          <p:cNvGrpSpPr/>
          <p:nvPr userDrawn="1"/>
        </p:nvGrpSpPr>
        <p:grpSpPr>
          <a:xfrm>
            <a:off x="2033203" y="1181639"/>
            <a:ext cx="494193" cy="319544"/>
            <a:chOff x="1652408" y="807320"/>
            <a:chExt cx="401636" cy="319544"/>
          </a:xfrm>
        </p:grpSpPr>
        <p:sp>
          <p:nvSpPr>
            <p:cNvPr id="53" name="Elipse 52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54" name="CuadroTexto 53"/>
            <p:cNvSpPr txBox="1"/>
            <p:nvPr/>
          </p:nvSpPr>
          <p:spPr>
            <a:xfrm>
              <a:off x="1652408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2</a:t>
              </a:r>
            </a:p>
          </p:txBody>
        </p:sp>
      </p:grpSp>
      <p:grpSp>
        <p:nvGrpSpPr>
          <p:cNvPr id="55" name="Agrupar 97"/>
          <p:cNvGrpSpPr/>
          <p:nvPr userDrawn="1"/>
        </p:nvGrpSpPr>
        <p:grpSpPr>
          <a:xfrm>
            <a:off x="2033203" y="1555958"/>
            <a:ext cx="494193" cy="319544"/>
            <a:chOff x="1652408" y="807320"/>
            <a:chExt cx="401636" cy="319544"/>
          </a:xfrm>
        </p:grpSpPr>
        <p:sp>
          <p:nvSpPr>
            <p:cNvPr id="56" name="Elipse 55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57" name="CuadroTexto 56"/>
            <p:cNvSpPr txBox="1"/>
            <p:nvPr/>
          </p:nvSpPr>
          <p:spPr>
            <a:xfrm>
              <a:off x="1652408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3</a:t>
              </a:r>
            </a:p>
          </p:txBody>
        </p:sp>
      </p:grpSp>
      <p:grpSp>
        <p:nvGrpSpPr>
          <p:cNvPr id="58" name="Agrupar 100"/>
          <p:cNvGrpSpPr/>
          <p:nvPr userDrawn="1"/>
        </p:nvGrpSpPr>
        <p:grpSpPr>
          <a:xfrm>
            <a:off x="2033203" y="1930277"/>
            <a:ext cx="494193" cy="319544"/>
            <a:chOff x="1652408" y="807320"/>
            <a:chExt cx="401636" cy="319544"/>
          </a:xfrm>
        </p:grpSpPr>
        <p:sp>
          <p:nvSpPr>
            <p:cNvPr id="59" name="Elipse 58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60" name="CuadroTexto 59"/>
            <p:cNvSpPr txBox="1"/>
            <p:nvPr/>
          </p:nvSpPr>
          <p:spPr>
            <a:xfrm>
              <a:off x="1652408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4</a:t>
              </a:r>
            </a:p>
          </p:txBody>
        </p:sp>
      </p:grpSp>
      <p:grpSp>
        <p:nvGrpSpPr>
          <p:cNvPr id="61" name="Agrupar 103"/>
          <p:cNvGrpSpPr/>
          <p:nvPr userDrawn="1"/>
        </p:nvGrpSpPr>
        <p:grpSpPr>
          <a:xfrm>
            <a:off x="2033203" y="2304596"/>
            <a:ext cx="494193" cy="319544"/>
            <a:chOff x="1652408" y="807320"/>
            <a:chExt cx="401636" cy="319544"/>
          </a:xfrm>
        </p:grpSpPr>
        <p:sp>
          <p:nvSpPr>
            <p:cNvPr id="62" name="Elipse 61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63" name="CuadroTexto 62"/>
            <p:cNvSpPr txBox="1"/>
            <p:nvPr/>
          </p:nvSpPr>
          <p:spPr>
            <a:xfrm>
              <a:off x="1652408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5</a:t>
              </a:r>
            </a:p>
          </p:txBody>
        </p:sp>
      </p:grpSp>
      <p:grpSp>
        <p:nvGrpSpPr>
          <p:cNvPr id="64" name="Agrupar 106"/>
          <p:cNvGrpSpPr/>
          <p:nvPr userDrawn="1"/>
        </p:nvGrpSpPr>
        <p:grpSpPr>
          <a:xfrm>
            <a:off x="2033203" y="2678915"/>
            <a:ext cx="494193" cy="319544"/>
            <a:chOff x="1652408" y="807320"/>
            <a:chExt cx="401636" cy="319544"/>
          </a:xfrm>
        </p:grpSpPr>
        <p:sp>
          <p:nvSpPr>
            <p:cNvPr id="65" name="Elipse 64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66" name="CuadroTexto 65"/>
            <p:cNvSpPr txBox="1"/>
            <p:nvPr/>
          </p:nvSpPr>
          <p:spPr>
            <a:xfrm>
              <a:off x="1652408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6</a:t>
              </a:r>
            </a:p>
          </p:txBody>
        </p:sp>
      </p:grpSp>
      <p:grpSp>
        <p:nvGrpSpPr>
          <p:cNvPr id="67" name="Agrupar 109"/>
          <p:cNvGrpSpPr/>
          <p:nvPr userDrawn="1"/>
        </p:nvGrpSpPr>
        <p:grpSpPr>
          <a:xfrm>
            <a:off x="2033203" y="3053234"/>
            <a:ext cx="494193" cy="319544"/>
            <a:chOff x="1652408" y="807320"/>
            <a:chExt cx="401636" cy="319544"/>
          </a:xfrm>
        </p:grpSpPr>
        <p:sp>
          <p:nvSpPr>
            <p:cNvPr id="68" name="Elipse 67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69" name="CuadroTexto 68"/>
            <p:cNvSpPr txBox="1"/>
            <p:nvPr/>
          </p:nvSpPr>
          <p:spPr>
            <a:xfrm>
              <a:off x="1652408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7</a:t>
              </a:r>
            </a:p>
          </p:txBody>
        </p:sp>
      </p:grpSp>
      <p:grpSp>
        <p:nvGrpSpPr>
          <p:cNvPr id="70" name="Agrupar 112"/>
          <p:cNvGrpSpPr/>
          <p:nvPr userDrawn="1"/>
        </p:nvGrpSpPr>
        <p:grpSpPr>
          <a:xfrm>
            <a:off x="2033203" y="3427553"/>
            <a:ext cx="494193" cy="319544"/>
            <a:chOff x="1652408" y="807320"/>
            <a:chExt cx="401636" cy="319544"/>
          </a:xfrm>
        </p:grpSpPr>
        <p:sp>
          <p:nvSpPr>
            <p:cNvPr id="71" name="Elipse 70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72" name="CuadroTexto 71"/>
            <p:cNvSpPr txBox="1"/>
            <p:nvPr/>
          </p:nvSpPr>
          <p:spPr>
            <a:xfrm>
              <a:off x="1652408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8</a:t>
              </a:r>
            </a:p>
          </p:txBody>
        </p:sp>
      </p:grpSp>
      <p:grpSp>
        <p:nvGrpSpPr>
          <p:cNvPr id="73" name="Agrupar 115"/>
          <p:cNvGrpSpPr/>
          <p:nvPr userDrawn="1"/>
        </p:nvGrpSpPr>
        <p:grpSpPr>
          <a:xfrm>
            <a:off x="2033203" y="3801872"/>
            <a:ext cx="494193" cy="319544"/>
            <a:chOff x="1652408" y="807320"/>
            <a:chExt cx="401636" cy="319544"/>
          </a:xfrm>
        </p:grpSpPr>
        <p:sp>
          <p:nvSpPr>
            <p:cNvPr id="74" name="Elipse 73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75" name="CuadroTexto 74"/>
            <p:cNvSpPr txBox="1"/>
            <p:nvPr/>
          </p:nvSpPr>
          <p:spPr>
            <a:xfrm>
              <a:off x="1652408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9</a:t>
              </a:r>
            </a:p>
          </p:txBody>
        </p:sp>
      </p:grpSp>
      <p:grpSp>
        <p:nvGrpSpPr>
          <p:cNvPr id="76" name="Agrupar 118"/>
          <p:cNvGrpSpPr/>
          <p:nvPr userDrawn="1"/>
        </p:nvGrpSpPr>
        <p:grpSpPr>
          <a:xfrm>
            <a:off x="2019848" y="4176191"/>
            <a:ext cx="494193" cy="319544"/>
            <a:chOff x="1641554" y="807320"/>
            <a:chExt cx="401636" cy="319544"/>
          </a:xfrm>
        </p:grpSpPr>
        <p:sp>
          <p:nvSpPr>
            <p:cNvPr id="77" name="Elipse 76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78" name="CuadroTexto 77"/>
            <p:cNvSpPr txBox="1"/>
            <p:nvPr/>
          </p:nvSpPr>
          <p:spPr>
            <a:xfrm>
              <a:off x="1641554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10</a:t>
              </a:r>
            </a:p>
          </p:txBody>
        </p:sp>
      </p:grpSp>
      <p:grpSp>
        <p:nvGrpSpPr>
          <p:cNvPr id="79" name="Agrupar 121"/>
          <p:cNvGrpSpPr/>
          <p:nvPr userDrawn="1"/>
        </p:nvGrpSpPr>
        <p:grpSpPr>
          <a:xfrm>
            <a:off x="2033203" y="4550510"/>
            <a:ext cx="494193" cy="319544"/>
            <a:chOff x="1652408" y="807320"/>
            <a:chExt cx="401636" cy="319544"/>
          </a:xfrm>
        </p:grpSpPr>
        <p:sp>
          <p:nvSpPr>
            <p:cNvPr id="80" name="Elipse 79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81" name="CuadroTexto 80"/>
            <p:cNvSpPr txBox="1"/>
            <p:nvPr/>
          </p:nvSpPr>
          <p:spPr>
            <a:xfrm>
              <a:off x="1652408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11</a:t>
              </a:r>
            </a:p>
          </p:txBody>
        </p:sp>
      </p:grpSp>
      <p:grpSp>
        <p:nvGrpSpPr>
          <p:cNvPr id="82" name="Agrupar 124"/>
          <p:cNvGrpSpPr/>
          <p:nvPr userDrawn="1"/>
        </p:nvGrpSpPr>
        <p:grpSpPr>
          <a:xfrm>
            <a:off x="2019848" y="4924829"/>
            <a:ext cx="494193" cy="319544"/>
            <a:chOff x="1641554" y="807320"/>
            <a:chExt cx="401636" cy="319544"/>
          </a:xfrm>
        </p:grpSpPr>
        <p:sp>
          <p:nvSpPr>
            <p:cNvPr id="83" name="Elipse 82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84" name="CuadroTexto 83"/>
            <p:cNvSpPr txBox="1"/>
            <p:nvPr/>
          </p:nvSpPr>
          <p:spPr>
            <a:xfrm>
              <a:off x="1641554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12</a:t>
              </a:r>
            </a:p>
          </p:txBody>
        </p:sp>
      </p:grpSp>
      <p:grpSp>
        <p:nvGrpSpPr>
          <p:cNvPr id="85" name="Agrupar 127"/>
          <p:cNvGrpSpPr/>
          <p:nvPr userDrawn="1"/>
        </p:nvGrpSpPr>
        <p:grpSpPr>
          <a:xfrm>
            <a:off x="2019848" y="5299148"/>
            <a:ext cx="494193" cy="319544"/>
            <a:chOff x="1641554" y="807320"/>
            <a:chExt cx="401636" cy="319544"/>
          </a:xfrm>
        </p:grpSpPr>
        <p:sp>
          <p:nvSpPr>
            <p:cNvPr id="86" name="Elipse 85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87" name="CuadroTexto 86"/>
            <p:cNvSpPr txBox="1"/>
            <p:nvPr/>
          </p:nvSpPr>
          <p:spPr>
            <a:xfrm>
              <a:off x="1641554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13</a:t>
              </a:r>
            </a:p>
          </p:txBody>
        </p:sp>
      </p:grpSp>
      <p:grpSp>
        <p:nvGrpSpPr>
          <p:cNvPr id="88" name="Agrupar 130"/>
          <p:cNvGrpSpPr/>
          <p:nvPr userDrawn="1"/>
        </p:nvGrpSpPr>
        <p:grpSpPr>
          <a:xfrm>
            <a:off x="2019848" y="5673467"/>
            <a:ext cx="494193" cy="319544"/>
            <a:chOff x="1641554" y="807320"/>
            <a:chExt cx="401636" cy="319544"/>
          </a:xfrm>
        </p:grpSpPr>
        <p:sp>
          <p:nvSpPr>
            <p:cNvPr id="89" name="Elipse 88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90" name="CuadroTexto 89"/>
            <p:cNvSpPr txBox="1"/>
            <p:nvPr/>
          </p:nvSpPr>
          <p:spPr>
            <a:xfrm>
              <a:off x="1641554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14</a:t>
              </a:r>
            </a:p>
          </p:txBody>
        </p:sp>
      </p:grpSp>
      <p:grpSp>
        <p:nvGrpSpPr>
          <p:cNvPr id="91" name="Agrupar 133"/>
          <p:cNvGrpSpPr/>
          <p:nvPr userDrawn="1"/>
        </p:nvGrpSpPr>
        <p:grpSpPr>
          <a:xfrm>
            <a:off x="2019848" y="6047792"/>
            <a:ext cx="494193" cy="319544"/>
            <a:chOff x="1641554" y="807320"/>
            <a:chExt cx="401636" cy="319544"/>
          </a:xfrm>
        </p:grpSpPr>
        <p:sp>
          <p:nvSpPr>
            <p:cNvPr id="92" name="Elipse 91"/>
            <p:cNvSpPr/>
            <p:nvPr/>
          </p:nvSpPr>
          <p:spPr>
            <a:xfrm>
              <a:off x="1698426" y="817264"/>
              <a:ext cx="309600" cy="309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93" name="CuadroTexto 92"/>
            <p:cNvSpPr txBox="1"/>
            <p:nvPr/>
          </p:nvSpPr>
          <p:spPr>
            <a:xfrm>
              <a:off x="1641554" y="8073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latin typeface="Arial"/>
                  <a:cs typeface="Arial"/>
                </a:rPr>
                <a:t>15</a:t>
              </a:r>
            </a:p>
          </p:txBody>
        </p:sp>
      </p:grpSp>
      <p:grpSp>
        <p:nvGrpSpPr>
          <p:cNvPr id="94" name="Agrupar 229"/>
          <p:cNvGrpSpPr/>
          <p:nvPr userDrawn="1"/>
        </p:nvGrpSpPr>
        <p:grpSpPr>
          <a:xfrm>
            <a:off x="3283770" y="833949"/>
            <a:ext cx="494193" cy="276999"/>
            <a:chOff x="2668758" y="833948"/>
            <a:chExt cx="401636" cy="276999"/>
          </a:xfrm>
        </p:grpSpPr>
        <p:sp>
          <p:nvSpPr>
            <p:cNvPr id="95" name="Elipse 94"/>
            <p:cNvSpPr/>
            <p:nvPr/>
          </p:nvSpPr>
          <p:spPr>
            <a:xfrm>
              <a:off x="2750555" y="864281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96" name="CuadroTexto 95"/>
            <p:cNvSpPr txBox="1"/>
            <p:nvPr/>
          </p:nvSpPr>
          <p:spPr>
            <a:xfrm>
              <a:off x="2668758" y="833948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1</a:t>
              </a:r>
            </a:p>
          </p:txBody>
        </p:sp>
      </p:grpSp>
      <p:grpSp>
        <p:nvGrpSpPr>
          <p:cNvPr id="97" name="Agrupar 230"/>
          <p:cNvGrpSpPr/>
          <p:nvPr userDrawn="1"/>
        </p:nvGrpSpPr>
        <p:grpSpPr>
          <a:xfrm>
            <a:off x="3283770" y="1212377"/>
            <a:ext cx="494193" cy="276999"/>
            <a:chOff x="2668758" y="1212376"/>
            <a:chExt cx="401636" cy="276999"/>
          </a:xfrm>
        </p:grpSpPr>
        <p:sp>
          <p:nvSpPr>
            <p:cNvPr id="98" name="Elipse 97"/>
            <p:cNvSpPr/>
            <p:nvPr/>
          </p:nvSpPr>
          <p:spPr>
            <a:xfrm>
              <a:off x="2750555" y="1242709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99" name="CuadroTexto 98"/>
            <p:cNvSpPr txBox="1"/>
            <p:nvPr/>
          </p:nvSpPr>
          <p:spPr>
            <a:xfrm>
              <a:off x="2668758" y="1212376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2</a:t>
              </a:r>
            </a:p>
          </p:txBody>
        </p:sp>
      </p:grpSp>
      <p:grpSp>
        <p:nvGrpSpPr>
          <p:cNvPr id="100" name="Agrupar 231"/>
          <p:cNvGrpSpPr/>
          <p:nvPr userDrawn="1"/>
        </p:nvGrpSpPr>
        <p:grpSpPr>
          <a:xfrm>
            <a:off x="3283770" y="1590805"/>
            <a:ext cx="494193" cy="276999"/>
            <a:chOff x="2668758" y="1590804"/>
            <a:chExt cx="401636" cy="276999"/>
          </a:xfrm>
        </p:grpSpPr>
        <p:sp>
          <p:nvSpPr>
            <p:cNvPr id="101" name="Elipse 100"/>
            <p:cNvSpPr/>
            <p:nvPr/>
          </p:nvSpPr>
          <p:spPr>
            <a:xfrm>
              <a:off x="2750555" y="1621137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02" name="CuadroTexto 101"/>
            <p:cNvSpPr txBox="1"/>
            <p:nvPr/>
          </p:nvSpPr>
          <p:spPr>
            <a:xfrm>
              <a:off x="2668758" y="1590804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3</a:t>
              </a:r>
            </a:p>
          </p:txBody>
        </p:sp>
      </p:grpSp>
      <p:grpSp>
        <p:nvGrpSpPr>
          <p:cNvPr id="103" name="Agrupar 232"/>
          <p:cNvGrpSpPr/>
          <p:nvPr userDrawn="1"/>
        </p:nvGrpSpPr>
        <p:grpSpPr>
          <a:xfrm>
            <a:off x="3283770" y="1969233"/>
            <a:ext cx="494193" cy="276999"/>
            <a:chOff x="2668758" y="1969232"/>
            <a:chExt cx="401636" cy="276999"/>
          </a:xfrm>
        </p:grpSpPr>
        <p:sp>
          <p:nvSpPr>
            <p:cNvPr id="104" name="Elipse 103"/>
            <p:cNvSpPr/>
            <p:nvPr/>
          </p:nvSpPr>
          <p:spPr>
            <a:xfrm>
              <a:off x="2750555" y="1999565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05" name="CuadroTexto 104"/>
            <p:cNvSpPr txBox="1"/>
            <p:nvPr/>
          </p:nvSpPr>
          <p:spPr>
            <a:xfrm>
              <a:off x="2668758" y="1969232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4</a:t>
              </a:r>
            </a:p>
          </p:txBody>
        </p:sp>
      </p:grpSp>
      <p:grpSp>
        <p:nvGrpSpPr>
          <p:cNvPr id="106" name="Agrupar 233"/>
          <p:cNvGrpSpPr/>
          <p:nvPr userDrawn="1"/>
        </p:nvGrpSpPr>
        <p:grpSpPr>
          <a:xfrm>
            <a:off x="3283770" y="2347661"/>
            <a:ext cx="494193" cy="276999"/>
            <a:chOff x="2668758" y="2347660"/>
            <a:chExt cx="401636" cy="276999"/>
          </a:xfrm>
        </p:grpSpPr>
        <p:sp>
          <p:nvSpPr>
            <p:cNvPr id="107" name="Elipse 106"/>
            <p:cNvSpPr/>
            <p:nvPr/>
          </p:nvSpPr>
          <p:spPr>
            <a:xfrm>
              <a:off x="2750555" y="2377993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08" name="CuadroTexto 107"/>
            <p:cNvSpPr txBox="1"/>
            <p:nvPr/>
          </p:nvSpPr>
          <p:spPr>
            <a:xfrm>
              <a:off x="2668758" y="2347660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5</a:t>
              </a:r>
            </a:p>
          </p:txBody>
        </p:sp>
      </p:grpSp>
      <p:grpSp>
        <p:nvGrpSpPr>
          <p:cNvPr id="109" name="Agrupar 234"/>
          <p:cNvGrpSpPr/>
          <p:nvPr userDrawn="1"/>
        </p:nvGrpSpPr>
        <p:grpSpPr>
          <a:xfrm>
            <a:off x="3283770" y="2726089"/>
            <a:ext cx="494193" cy="276999"/>
            <a:chOff x="2668758" y="2726088"/>
            <a:chExt cx="401636" cy="276999"/>
          </a:xfrm>
        </p:grpSpPr>
        <p:sp>
          <p:nvSpPr>
            <p:cNvPr id="110" name="Elipse 109"/>
            <p:cNvSpPr/>
            <p:nvPr/>
          </p:nvSpPr>
          <p:spPr>
            <a:xfrm>
              <a:off x="2750555" y="2756421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11" name="CuadroTexto 110"/>
            <p:cNvSpPr txBox="1"/>
            <p:nvPr/>
          </p:nvSpPr>
          <p:spPr>
            <a:xfrm>
              <a:off x="2668758" y="2726088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6</a:t>
              </a:r>
            </a:p>
          </p:txBody>
        </p:sp>
      </p:grpSp>
      <p:grpSp>
        <p:nvGrpSpPr>
          <p:cNvPr id="112" name="Agrupar 235"/>
          <p:cNvGrpSpPr/>
          <p:nvPr userDrawn="1"/>
        </p:nvGrpSpPr>
        <p:grpSpPr>
          <a:xfrm>
            <a:off x="3283770" y="3104517"/>
            <a:ext cx="494193" cy="276999"/>
            <a:chOff x="2668758" y="3104516"/>
            <a:chExt cx="401636" cy="276999"/>
          </a:xfrm>
        </p:grpSpPr>
        <p:sp>
          <p:nvSpPr>
            <p:cNvPr id="113" name="Elipse 112"/>
            <p:cNvSpPr/>
            <p:nvPr/>
          </p:nvSpPr>
          <p:spPr>
            <a:xfrm>
              <a:off x="2750555" y="3134849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14" name="CuadroTexto 113"/>
            <p:cNvSpPr txBox="1"/>
            <p:nvPr/>
          </p:nvSpPr>
          <p:spPr>
            <a:xfrm>
              <a:off x="2668758" y="3104516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7</a:t>
              </a:r>
            </a:p>
          </p:txBody>
        </p:sp>
      </p:grpSp>
      <p:grpSp>
        <p:nvGrpSpPr>
          <p:cNvPr id="115" name="Agrupar 236"/>
          <p:cNvGrpSpPr/>
          <p:nvPr userDrawn="1"/>
        </p:nvGrpSpPr>
        <p:grpSpPr>
          <a:xfrm>
            <a:off x="3283770" y="3482944"/>
            <a:ext cx="494193" cy="276999"/>
            <a:chOff x="2668758" y="3482944"/>
            <a:chExt cx="401636" cy="276999"/>
          </a:xfrm>
        </p:grpSpPr>
        <p:sp>
          <p:nvSpPr>
            <p:cNvPr id="116" name="Elipse 115"/>
            <p:cNvSpPr/>
            <p:nvPr/>
          </p:nvSpPr>
          <p:spPr>
            <a:xfrm>
              <a:off x="2750555" y="3513277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17" name="CuadroTexto 116"/>
            <p:cNvSpPr txBox="1"/>
            <p:nvPr/>
          </p:nvSpPr>
          <p:spPr>
            <a:xfrm>
              <a:off x="2668758" y="3482944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8</a:t>
              </a:r>
            </a:p>
          </p:txBody>
        </p:sp>
      </p:grpSp>
      <p:grpSp>
        <p:nvGrpSpPr>
          <p:cNvPr id="118" name="Agrupar 237"/>
          <p:cNvGrpSpPr/>
          <p:nvPr userDrawn="1"/>
        </p:nvGrpSpPr>
        <p:grpSpPr>
          <a:xfrm>
            <a:off x="3283770" y="3861373"/>
            <a:ext cx="494193" cy="276999"/>
            <a:chOff x="2668758" y="3861372"/>
            <a:chExt cx="401636" cy="276999"/>
          </a:xfrm>
        </p:grpSpPr>
        <p:sp>
          <p:nvSpPr>
            <p:cNvPr id="119" name="Elipse 118"/>
            <p:cNvSpPr/>
            <p:nvPr/>
          </p:nvSpPr>
          <p:spPr>
            <a:xfrm>
              <a:off x="2750555" y="3891705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20" name="CuadroTexto 119"/>
            <p:cNvSpPr txBox="1"/>
            <p:nvPr/>
          </p:nvSpPr>
          <p:spPr>
            <a:xfrm>
              <a:off x="2668758" y="3861372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9</a:t>
              </a:r>
            </a:p>
          </p:txBody>
        </p:sp>
      </p:grpSp>
      <p:grpSp>
        <p:nvGrpSpPr>
          <p:cNvPr id="121" name="Agrupar 238"/>
          <p:cNvGrpSpPr/>
          <p:nvPr userDrawn="1"/>
        </p:nvGrpSpPr>
        <p:grpSpPr>
          <a:xfrm>
            <a:off x="3283770" y="4250657"/>
            <a:ext cx="494193" cy="276999"/>
            <a:chOff x="2668758" y="4250656"/>
            <a:chExt cx="401636" cy="276999"/>
          </a:xfrm>
        </p:grpSpPr>
        <p:sp>
          <p:nvSpPr>
            <p:cNvPr id="122" name="Elipse 121"/>
            <p:cNvSpPr/>
            <p:nvPr/>
          </p:nvSpPr>
          <p:spPr>
            <a:xfrm>
              <a:off x="2750555" y="4270133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23" name="CuadroTexto 122"/>
            <p:cNvSpPr txBox="1"/>
            <p:nvPr/>
          </p:nvSpPr>
          <p:spPr>
            <a:xfrm>
              <a:off x="2668758" y="4250656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10</a:t>
              </a:r>
            </a:p>
          </p:txBody>
        </p:sp>
      </p:grpSp>
      <p:grpSp>
        <p:nvGrpSpPr>
          <p:cNvPr id="124" name="Agrupar 239"/>
          <p:cNvGrpSpPr/>
          <p:nvPr userDrawn="1"/>
        </p:nvGrpSpPr>
        <p:grpSpPr>
          <a:xfrm>
            <a:off x="3283770" y="4618229"/>
            <a:ext cx="494193" cy="276999"/>
            <a:chOff x="2668758" y="4618228"/>
            <a:chExt cx="401636" cy="276999"/>
          </a:xfrm>
        </p:grpSpPr>
        <p:sp>
          <p:nvSpPr>
            <p:cNvPr id="125" name="Elipse 124"/>
            <p:cNvSpPr/>
            <p:nvPr/>
          </p:nvSpPr>
          <p:spPr>
            <a:xfrm>
              <a:off x="2750555" y="4648561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26" name="CuadroTexto 125"/>
            <p:cNvSpPr txBox="1"/>
            <p:nvPr/>
          </p:nvSpPr>
          <p:spPr>
            <a:xfrm>
              <a:off x="2668758" y="4618228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11</a:t>
              </a:r>
            </a:p>
          </p:txBody>
        </p:sp>
      </p:grpSp>
      <p:grpSp>
        <p:nvGrpSpPr>
          <p:cNvPr id="127" name="Agrupar 240"/>
          <p:cNvGrpSpPr/>
          <p:nvPr userDrawn="1"/>
        </p:nvGrpSpPr>
        <p:grpSpPr>
          <a:xfrm>
            <a:off x="3270414" y="4996657"/>
            <a:ext cx="494193" cy="276999"/>
            <a:chOff x="2657904" y="4996656"/>
            <a:chExt cx="401636" cy="276999"/>
          </a:xfrm>
        </p:grpSpPr>
        <p:sp>
          <p:nvSpPr>
            <p:cNvPr id="128" name="Elipse 127"/>
            <p:cNvSpPr/>
            <p:nvPr/>
          </p:nvSpPr>
          <p:spPr>
            <a:xfrm>
              <a:off x="2750555" y="5026989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29" name="CuadroTexto 128"/>
            <p:cNvSpPr txBox="1"/>
            <p:nvPr/>
          </p:nvSpPr>
          <p:spPr>
            <a:xfrm>
              <a:off x="2657904" y="4996656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12</a:t>
              </a:r>
            </a:p>
          </p:txBody>
        </p:sp>
      </p:grpSp>
      <p:grpSp>
        <p:nvGrpSpPr>
          <p:cNvPr id="130" name="Agrupar 241"/>
          <p:cNvGrpSpPr/>
          <p:nvPr userDrawn="1"/>
        </p:nvGrpSpPr>
        <p:grpSpPr>
          <a:xfrm>
            <a:off x="3270414" y="5375085"/>
            <a:ext cx="494193" cy="276999"/>
            <a:chOff x="2657904" y="5375084"/>
            <a:chExt cx="401636" cy="276999"/>
          </a:xfrm>
        </p:grpSpPr>
        <p:sp>
          <p:nvSpPr>
            <p:cNvPr id="131" name="Elipse 130"/>
            <p:cNvSpPr/>
            <p:nvPr/>
          </p:nvSpPr>
          <p:spPr>
            <a:xfrm>
              <a:off x="2750555" y="5405417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32" name="CuadroTexto 131"/>
            <p:cNvSpPr txBox="1"/>
            <p:nvPr/>
          </p:nvSpPr>
          <p:spPr>
            <a:xfrm>
              <a:off x="2657904" y="5375084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13</a:t>
              </a:r>
            </a:p>
          </p:txBody>
        </p:sp>
      </p:grpSp>
      <p:grpSp>
        <p:nvGrpSpPr>
          <p:cNvPr id="133" name="Agrupar 242"/>
          <p:cNvGrpSpPr/>
          <p:nvPr userDrawn="1"/>
        </p:nvGrpSpPr>
        <p:grpSpPr>
          <a:xfrm>
            <a:off x="3270414" y="5753513"/>
            <a:ext cx="494193" cy="276999"/>
            <a:chOff x="2657904" y="5753512"/>
            <a:chExt cx="401636" cy="276999"/>
          </a:xfrm>
        </p:grpSpPr>
        <p:sp>
          <p:nvSpPr>
            <p:cNvPr id="134" name="Elipse 133"/>
            <p:cNvSpPr/>
            <p:nvPr/>
          </p:nvSpPr>
          <p:spPr>
            <a:xfrm>
              <a:off x="2750555" y="5783845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35" name="CuadroTexto 134"/>
            <p:cNvSpPr txBox="1"/>
            <p:nvPr/>
          </p:nvSpPr>
          <p:spPr>
            <a:xfrm>
              <a:off x="2657904" y="5753512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14</a:t>
              </a:r>
            </a:p>
          </p:txBody>
        </p:sp>
      </p:grpSp>
      <p:grpSp>
        <p:nvGrpSpPr>
          <p:cNvPr id="136" name="Agrupar 243"/>
          <p:cNvGrpSpPr/>
          <p:nvPr userDrawn="1"/>
        </p:nvGrpSpPr>
        <p:grpSpPr>
          <a:xfrm>
            <a:off x="3270414" y="6131943"/>
            <a:ext cx="494193" cy="276999"/>
            <a:chOff x="2657904" y="6131942"/>
            <a:chExt cx="401636" cy="276999"/>
          </a:xfrm>
        </p:grpSpPr>
        <p:sp>
          <p:nvSpPr>
            <p:cNvPr id="137" name="Elipse 136"/>
            <p:cNvSpPr/>
            <p:nvPr/>
          </p:nvSpPr>
          <p:spPr>
            <a:xfrm>
              <a:off x="2750555" y="6162275"/>
              <a:ext cx="238043" cy="238044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rgbClr val="1947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38" name="CuadroTexto 137"/>
            <p:cNvSpPr txBox="1"/>
            <p:nvPr/>
          </p:nvSpPr>
          <p:spPr>
            <a:xfrm>
              <a:off x="2657904" y="6131942"/>
              <a:ext cx="4016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solidFill>
                    <a:srgbClr val="FFFFFF"/>
                  </a:solidFill>
                  <a:latin typeface="Arial"/>
                  <a:cs typeface="Arial"/>
                </a:rPr>
                <a:t>15</a:t>
              </a:r>
            </a:p>
          </p:txBody>
        </p:sp>
      </p:grpSp>
      <p:grpSp>
        <p:nvGrpSpPr>
          <p:cNvPr id="139" name="Agrupar 51"/>
          <p:cNvGrpSpPr/>
          <p:nvPr userDrawn="1"/>
        </p:nvGrpSpPr>
        <p:grpSpPr>
          <a:xfrm>
            <a:off x="4531302" y="848925"/>
            <a:ext cx="494193" cy="319544"/>
            <a:chOff x="3682642" y="848925"/>
            <a:chExt cx="401636" cy="319544"/>
          </a:xfrm>
        </p:grpSpPr>
        <p:sp>
          <p:nvSpPr>
            <p:cNvPr id="140" name="Elipse 139"/>
            <p:cNvSpPr/>
            <p:nvPr/>
          </p:nvSpPr>
          <p:spPr>
            <a:xfrm>
              <a:off x="3728660" y="858869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41" name="CuadroTexto 140"/>
            <p:cNvSpPr txBox="1"/>
            <p:nvPr/>
          </p:nvSpPr>
          <p:spPr>
            <a:xfrm>
              <a:off x="3682642" y="848925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1</a:t>
              </a:r>
            </a:p>
          </p:txBody>
        </p:sp>
      </p:grpSp>
      <p:grpSp>
        <p:nvGrpSpPr>
          <p:cNvPr id="142" name="Agrupar 50"/>
          <p:cNvGrpSpPr/>
          <p:nvPr userDrawn="1"/>
        </p:nvGrpSpPr>
        <p:grpSpPr>
          <a:xfrm>
            <a:off x="4531302" y="1223244"/>
            <a:ext cx="494193" cy="319544"/>
            <a:chOff x="3682642" y="1223244"/>
            <a:chExt cx="401636" cy="319544"/>
          </a:xfrm>
        </p:grpSpPr>
        <p:sp>
          <p:nvSpPr>
            <p:cNvPr id="143" name="Elipse 142"/>
            <p:cNvSpPr/>
            <p:nvPr/>
          </p:nvSpPr>
          <p:spPr>
            <a:xfrm>
              <a:off x="3728660" y="1233188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44" name="CuadroTexto 143"/>
            <p:cNvSpPr txBox="1"/>
            <p:nvPr/>
          </p:nvSpPr>
          <p:spPr>
            <a:xfrm>
              <a:off x="3682642" y="1223244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2</a:t>
              </a:r>
            </a:p>
          </p:txBody>
        </p:sp>
      </p:grpSp>
      <p:grpSp>
        <p:nvGrpSpPr>
          <p:cNvPr id="145" name="Agrupar 49"/>
          <p:cNvGrpSpPr/>
          <p:nvPr userDrawn="1"/>
        </p:nvGrpSpPr>
        <p:grpSpPr>
          <a:xfrm>
            <a:off x="4531302" y="1597563"/>
            <a:ext cx="494193" cy="319544"/>
            <a:chOff x="3682642" y="1597563"/>
            <a:chExt cx="401636" cy="319544"/>
          </a:xfrm>
        </p:grpSpPr>
        <p:sp>
          <p:nvSpPr>
            <p:cNvPr id="146" name="Elipse 145"/>
            <p:cNvSpPr/>
            <p:nvPr/>
          </p:nvSpPr>
          <p:spPr>
            <a:xfrm>
              <a:off x="3728660" y="1607507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47" name="CuadroTexto 146"/>
            <p:cNvSpPr txBox="1"/>
            <p:nvPr/>
          </p:nvSpPr>
          <p:spPr>
            <a:xfrm>
              <a:off x="3682642" y="1597563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3</a:t>
              </a:r>
            </a:p>
          </p:txBody>
        </p:sp>
      </p:grpSp>
      <p:grpSp>
        <p:nvGrpSpPr>
          <p:cNvPr id="148" name="Agrupar 47"/>
          <p:cNvGrpSpPr/>
          <p:nvPr userDrawn="1"/>
        </p:nvGrpSpPr>
        <p:grpSpPr>
          <a:xfrm>
            <a:off x="4531302" y="1971882"/>
            <a:ext cx="494193" cy="319544"/>
            <a:chOff x="3682642" y="1971882"/>
            <a:chExt cx="401636" cy="319544"/>
          </a:xfrm>
        </p:grpSpPr>
        <p:sp>
          <p:nvSpPr>
            <p:cNvPr id="149" name="Elipse 148"/>
            <p:cNvSpPr/>
            <p:nvPr/>
          </p:nvSpPr>
          <p:spPr>
            <a:xfrm>
              <a:off x="3728660" y="1981826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50" name="CuadroTexto 149"/>
            <p:cNvSpPr txBox="1"/>
            <p:nvPr/>
          </p:nvSpPr>
          <p:spPr>
            <a:xfrm>
              <a:off x="3682642" y="1971882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4</a:t>
              </a:r>
            </a:p>
          </p:txBody>
        </p:sp>
      </p:grpSp>
      <p:grpSp>
        <p:nvGrpSpPr>
          <p:cNvPr id="151" name="Agrupar 254"/>
          <p:cNvGrpSpPr/>
          <p:nvPr userDrawn="1"/>
        </p:nvGrpSpPr>
        <p:grpSpPr>
          <a:xfrm>
            <a:off x="4531302" y="2346201"/>
            <a:ext cx="494193" cy="319544"/>
            <a:chOff x="3682642" y="2346201"/>
            <a:chExt cx="401636" cy="319544"/>
          </a:xfrm>
        </p:grpSpPr>
        <p:sp>
          <p:nvSpPr>
            <p:cNvPr id="152" name="Elipse 151"/>
            <p:cNvSpPr/>
            <p:nvPr/>
          </p:nvSpPr>
          <p:spPr>
            <a:xfrm>
              <a:off x="3728660" y="2356145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53" name="CuadroTexto 152"/>
            <p:cNvSpPr txBox="1"/>
            <p:nvPr/>
          </p:nvSpPr>
          <p:spPr>
            <a:xfrm>
              <a:off x="3682642" y="2346201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5</a:t>
              </a:r>
            </a:p>
          </p:txBody>
        </p:sp>
      </p:grpSp>
      <p:grpSp>
        <p:nvGrpSpPr>
          <p:cNvPr id="154" name="Agrupar 253"/>
          <p:cNvGrpSpPr/>
          <p:nvPr userDrawn="1"/>
        </p:nvGrpSpPr>
        <p:grpSpPr>
          <a:xfrm>
            <a:off x="4531302" y="2720520"/>
            <a:ext cx="494193" cy="319544"/>
            <a:chOff x="3682642" y="2720520"/>
            <a:chExt cx="401636" cy="319544"/>
          </a:xfrm>
        </p:grpSpPr>
        <p:sp>
          <p:nvSpPr>
            <p:cNvPr id="155" name="Elipse 154"/>
            <p:cNvSpPr/>
            <p:nvPr/>
          </p:nvSpPr>
          <p:spPr>
            <a:xfrm>
              <a:off x="3728660" y="2730464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56" name="CuadroTexto 155"/>
            <p:cNvSpPr txBox="1"/>
            <p:nvPr/>
          </p:nvSpPr>
          <p:spPr>
            <a:xfrm>
              <a:off x="3682642" y="2720520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6</a:t>
              </a:r>
            </a:p>
          </p:txBody>
        </p:sp>
      </p:grpSp>
      <p:grpSp>
        <p:nvGrpSpPr>
          <p:cNvPr id="157" name="Agrupar 252"/>
          <p:cNvGrpSpPr/>
          <p:nvPr userDrawn="1"/>
        </p:nvGrpSpPr>
        <p:grpSpPr>
          <a:xfrm>
            <a:off x="4531302" y="3094839"/>
            <a:ext cx="494193" cy="319544"/>
            <a:chOff x="3682642" y="3094839"/>
            <a:chExt cx="401636" cy="319544"/>
          </a:xfrm>
        </p:grpSpPr>
        <p:sp>
          <p:nvSpPr>
            <p:cNvPr id="158" name="Elipse 157"/>
            <p:cNvSpPr/>
            <p:nvPr/>
          </p:nvSpPr>
          <p:spPr>
            <a:xfrm>
              <a:off x="3728660" y="3104783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59" name="CuadroTexto 158"/>
            <p:cNvSpPr txBox="1"/>
            <p:nvPr/>
          </p:nvSpPr>
          <p:spPr>
            <a:xfrm>
              <a:off x="3682642" y="3094839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7</a:t>
              </a:r>
            </a:p>
          </p:txBody>
        </p:sp>
      </p:grpSp>
      <p:grpSp>
        <p:nvGrpSpPr>
          <p:cNvPr id="160" name="Agrupar 251"/>
          <p:cNvGrpSpPr/>
          <p:nvPr userDrawn="1"/>
        </p:nvGrpSpPr>
        <p:grpSpPr>
          <a:xfrm>
            <a:off x="4531302" y="3469158"/>
            <a:ext cx="494193" cy="319544"/>
            <a:chOff x="3682642" y="3469158"/>
            <a:chExt cx="401636" cy="319544"/>
          </a:xfrm>
        </p:grpSpPr>
        <p:sp>
          <p:nvSpPr>
            <p:cNvPr id="161" name="Elipse 160"/>
            <p:cNvSpPr/>
            <p:nvPr/>
          </p:nvSpPr>
          <p:spPr>
            <a:xfrm>
              <a:off x="3728660" y="3479102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62" name="CuadroTexto 161"/>
            <p:cNvSpPr txBox="1"/>
            <p:nvPr/>
          </p:nvSpPr>
          <p:spPr>
            <a:xfrm>
              <a:off x="3682642" y="3469158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8</a:t>
              </a:r>
            </a:p>
          </p:txBody>
        </p:sp>
      </p:grpSp>
      <p:grpSp>
        <p:nvGrpSpPr>
          <p:cNvPr id="163" name="Agrupar 250"/>
          <p:cNvGrpSpPr/>
          <p:nvPr userDrawn="1"/>
        </p:nvGrpSpPr>
        <p:grpSpPr>
          <a:xfrm>
            <a:off x="4531302" y="3843477"/>
            <a:ext cx="494193" cy="319544"/>
            <a:chOff x="3682642" y="3843477"/>
            <a:chExt cx="401636" cy="319544"/>
          </a:xfrm>
        </p:grpSpPr>
        <p:sp>
          <p:nvSpPr>
            <p:cNvPr id="164" name="Elipse 163"/>
            <p:cNvSpPr/>
            <p:nvPr/>
          </p:nvSpPr>
          <p:spPr>
            <a:xfrm>
              <a:off x="3728660" y="3853421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65" name="CuadroTexto 164"/>
            <p:cNvSpPr txBox="1"/>
            <p:nvPr/>
          </p:nvSpPr>
          <p:spPr>
            <a:xfrm>
              <a:off x="3682642" y="3843477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9</a:t>
              </a:r>
            </a:p>
          </p:txBody>
        </p:sp>
      </p:grpSp>
      <p:grpSp>
        <p:nvGrpSpPr>
          <p:cNvPr id="166" name="Agrupar 249"/>
          <p:cNvGrpSpPr/>
          <p:nvPr userDrawn="1"/>
        </p:nvGrpSpPr>
        <p:grpSpPr>
          <a:xfrm>
            <a:off x="4517947" y="4217796"/>
            <a:ext cx="494193" cy="319544"/>
            <a:chOff x="3671788" y="4217796"/>
            <a:chExt cx="401636" cy="319544"/>
          </a:xfrm>
        </p:grpSpPr>
        <p:sp>
          <p:nvSpPr>
            <p:cNvPr id="167" name="Elipse 166"/>
            <p:cNvSpPr/>
            <p:nvPr/>
          </p:nvSpPr>
          <p:spPr>
            <a:xfrm>
              <a:off x="3728660" y="4227740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68" name="CuadroTexto 167"/>
            <p:cNvSpPr txBox="1"/>
            <p:nvPr/>
          </p:nvSpPr>
          <p:spPr>
            <a:xfrm>
              <a:off x="3671788" y="4217796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10</a:t>
              </a:r>
            </a:p>
          </p:txBody>
        </p:sp>
      </p:grpSp>
      <p:grpSp>
        <p:nvGrpSpPr>
          <p:cNvPr id="169" name="Agrupar 248"/>
          <p:cNvGrpSpPr/>
          <p:nvPr userDrawn="1"/>
        </p:nvGrpSpPr>
        <p:grpSpPr>
          <a:xfrm>
            <a:off x="4531302" y="4592115"/>
            <a:ext cx="494193" cy="319544"/>
            <a:chOff x="3682642" y="4592115"/>
            <a:chExt cx="401636" cy="319544"/>
          </a:xfrm>
        </p:grpSpPr>
        <p:sp>
          <p:nvSpPr>
            <p:cNvPr id="170" name="Elipse 169"/>
            <p:cNvSpPr/>
            <p:nvPr/>
          </p:nvSpPr>
          <p:spPr>
            <a:xfrm>
              <a:off x="3728660" y="4602059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71" name="CuadroTexto 170"/>
            <p:cNvSpPr txBox="1"/>
            <p:nvPr/>
          </p:nvSpPr>
          <p:spPr>
            <a:xfrm>
              <a:off x="3682642" y="4592115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11</a:t>
              </a:r>
            </a:p>
          </p:txBody>
        </p:sp>
      </p:grpSp>
      <p:grpSp>
        <p:nvGrpSpPr>
          <p:cNvPr id="172" name="Agrupar 247"/>
          <p:cNvGrpSpPr/>
          <p:nvPr userDrawn="1"/>
        </p:nvGrpSpPr>
        <p:grpSpPr>
          <a:xfrm>
            <a:off x="4517947" y="4966434"/>
            <a:ext cx="494193" cy="319544"/>
            <a:chOff x="3671788" y="4966434"/>
            <a:chExt cx="401636" cy="319544"/>
          </a:xfrm>
        </p:grpSpPr>
        <p:sp>
          <p:nvSpPr>
            <p:cNvPr id="173" name="Elipse 172"/>
            <p:cNvSpPr/>
            <p:nvPr/>
          </p:nvSpPr>
          <p:spPr>
            <a:xfrm>
              <a:off x="3728660" y="4976378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74" name="CuadroTexto 173"/>
            <p:cNvSpPr txBox="1"/>
            <p:nvPr/>
          </p:nvSpPr>
          <p:spPr>
            <a:xfrm>
              <a:off x="3671788" y="4966434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12</a:t>
              </a:r>
            </a:p>
          </p:txBody>
        </p:sp>
      </p:grpSp>
      <p:grpSp>
        <p:nvGrpSpPr>
          <p:cNvPr id="175" name="Agrupar 246"/>
          <p:cNvGrpSpPr/>
          <p:nvPr userDrawn="1"/>
        </p:nvGrpSpPr>
        <p:grpSpPr>
          <a:xfrm>
            <a:off x="4517947" y="5340753"/>
            <a:ext cx="494193" cy="319544"/>
            <a:chOff x="3671788" y="5340753"/>
            <a:chExt cx="401636" cy="319544"/>
          </a:xfrm>
        </p:grpSpPr>
        <p:sp>
          <p:nvSpPr>
            <p:cNvPr id="176" name="Elipse 175"/>
            <p:cNvSpPr/>
            <p:nvPr/>
          </p:nvSpPr>
          <p:spPr>
            <a:xfrm>
              <a:off x="3728660" y="5350697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77" name="CuadroTexto 176"/>
            <p:cNvSpPr txBox="1"/>
            <p:nvPr/>
          </p:nvSpPr>
          <p:spPr>
            <a:xfrm>
              <a:off x="3671788" y="5340753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13</a:t>
              </a:r>
            </a:p>
          </p:txBody>
        </p:sp>
      </p:grpSp>
      <p:grpSp>
        <p:nvGrpSpPr>
          <p:cNvPr id="178" name="Agrupar 245"/>
          <p:cNvGrpSpPr/>
          <p:nvPr userDrawn="1"/>
        </p:nvGrpSpPr>
        <p:grpSpPr>
          <a:xfrm>
            <a:off x="4517947" y="5715072"/>
            <a:ext cx="494193" cy="319544"/>
            <a:chOff x="3671788" y="5715072"/>
            <a:chExt cx="401636" cy="319544"/>
          </a:xfrm>
        </p:grpSpPr>
        <p:sp>
          <p:nvSpPr>
            <p:cNvPr id="179" name="Elipse 178"/>
            <p:cNvSpPr/>
            <p:nvPr/>
          </p:nvSpPr>
          <p:spPr>
            <a:xfrm>
              <a:off x="3728660" y="5725016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80" name="CuadroTexto 179"/>
            <p:cNvSpPr txBox="1"/>
            <p:nvPr/>
          </p:nvSpPr>
          <p:spPr>
            <a:xfrm>
              <a:off x="3671788" y="5715072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14</a:t>
              </a:r>
            </a:p>
          </p:txBody>
        </p:sp>
      </p:grpSp>
      <p:grpSp>
        <p:nvGrpSpPr>
          <p:cNvPr id="181" name="Agrupar 244"/>
          <p:cNvGrpSpPr/>
          <p:nvPr userDrawn="1"/>
        </p:nvGrpSpPr>
        <p:grpSpPr>
          <a:xfrm>
            <a:off x="4517947" y="6089397"/>
            <a:ext cx="494193" cy="319544"/>
            <a:chOff x="3671788" y="6089397"/>
            <a:chExt cx="401636" cy="319544"/>
          </a:xfrm>
        </p:grpSpPr>
        <p:sp>
          <p:nvSpPr>
            <p:cNvPr id="182" name="Elipse 181"/>
            <p:cNvSpPr/>
            <p:nvPr/>
          </p:nvSpPr>
          <p:spPr>
            <a:xfrm>
              <a:off x="3728660" y="6099341"/>
              <a:ext cx="309600" cy="309600"/>
            </a:xfrm>
            <a:prstGeom prst="ellipse">
              <a:avLst/>
            </a:prstGeom>
            <a:solidFill>
              <a:srgbClr val="194780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s-ES" sz="1050">
                <a:solidFill>
                  <a:schemeClr val="tx1"/>
                </a:solidFill>
              </a:endParaRPr>
            </a:p>
          </p:txBody>
        </p:sp>
        <p:sp>
          <p:nvSpPr>
            <p:cNvPr id="183" name="CuadroTexto 182"/>
            <p:cNvSpPr txBox="1"/>
            <p:nvPr/>
          </p:nvSpPr>
          <p:spPr>
            <a:xfrm>
              <a:off x="3671788" y="6089397"/>
              <a:ext cx="401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bg1"/>
                  </a:solidFill>
                  <a:latin typeface="Arial"/>
                  <a:cs typeface="Arial"/>
                </a:rPr>
                <a:t>15</a:t>
              </a:r>
            </a:p>
          </p:txBody>
        </p:sp>
      </p:grpSp>
      <p:sp>
        <p:nvSpPr>
          <p:cNvPr id="184" name="Elipse 183"/>
          <p:cNvSpPr/>
          <p:nvPr userDrawn="1"/>
        </p:nvSpPr>
        <p:spPr>
          <a:xfrm>
            <a:off x="5843987" y="864281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85" name="CuadroTexto 184"/>
          <p:cNvSpPr txBox="1"/>
          <p:nvPr userDrawn="1"/>
        </p:nvSpPr>
        <p:spPr>
          <a:xfrm>
            <a:off x="5743339" y="833949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186" name="Elipse 185"/>
          <p:cNvSpPr/>
          <p:nvPr userDrawn="1"/>
        </p:nvSpPr>
        <p:spPr>
          <a:xfrm>
            <a:off x="5843987" y="1242709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87" name="CuadroTexto 186"/>
          <p:cNvSpPr txBox="1"/>
          <p:nvPr userDrawn="1"/>
        </p:nvSpPr>
        <p:spPr>
          <a:xfrm>
            <a:off x="5743339" y="1212377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188" name="Elipse 187"/>
          <p:cNvSpPr/>
          <p:nvPr userDrawn="1"/>
        </p:nvSpPr>
        <p:spPr>
          <a:xfrm>
            <a:off x="5843987" y="1621137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89" name="CuadroTexto 188"/>
          <p:cNvSpPr txBox="1"/>
          <p:nvPr userDrawn="1"/>
        </p:nvSpPr>
        <p:spPr>
          <a:xfrm>
            <a:off x="5743339" y="1590805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3</a:t>
            </a:r>
          </a:p>
        </p:txBody>
      </p:sp>
      <p:sp>
        <p:nvSpPr>
          <p:cNvPr id="190" name="Elipse 189"/>
          <p:cNvSpPr/>
          <p:nvPr userDrawn="1"/>
        </p:nvSpPr>
        <p:spPr>
          <a:xfrm>
            <a:off x="5843987" y="1999565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91" name="CuadroTexto 190"/>
          <p:cNvSpPr txBox="1"/>
          <p:nvPr userDrawn="1"/>
        </p:nvSpPr>
        <p:spPr>
          <a:xfrm>
            <a:off x="5743339" y="1969233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192" name="Elipse 191"/>
          <p:cNvSpPr/>
          <p:nvPr userDrawn="1"/>
        </p:nvSpPr>
        <p:spPr>
          <a:xfrm>
            <a:off x="5843987" y="2377993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93" name="CuadroTexto 192"/>
          <p:cNvSpPr txBox="1"/>
          <p:nvPr userDrawn="1"/>
        </p:nvSpPr>
        <p:spPr>
          <a:xfrm>
            <a:off x="5743339" y="2347661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5</a:t>
            </a:r>
          </a:p>
        </p:txBody>
      </p:sp>
      <p:sp>
        <p:nvSpPr>
          <p:cNvPr id="194" name="Elipse 193"/>
          <p:cNvSpPr/>
          <p:nvPr userDrawn="1"/>
        </p:nvSpPr>
        <p:spPr>
          <a:xfrm>
            <a:off x="5843987" y="2756421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95" name="CuadroTexto 194"/>
          <p:cNvSpPr txBox="1"/>
          <p:nvPr userDrawn="1"/>
        </p:nvSpPr>
        <p:spPr>
          <a:xfrm>
            <a:off x="5743339" y="2726089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6</a:t>
            </a:r>
          </a:p>
        </p:txBody>
      </p:sp>
      <p:sp>
        <p:nvSpPr>
          <p:cNvPr id="196" name="Elipse 195"/>
          <p:cNvSpPr/>
          <p:nvPr userDrawn="1"/>
        </p:nvSpPr>
        <p:spPr>
          <a:xfrm>
            <a:off x="5843987" y="3134849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97" name="CuadroTexto 196"/>
          <p:cNvSpPr txBox="1"/>
          <p:nvPr userDrawn="1"/>
        </p:nvSpPr>
        <p:spPr>
          <a:xfrm>
            <a:off x="5743339" y="3104517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7</a:t>
            </a:r>
          </a:p>
        </p:txBody>
      </p:sp>
      <p:sp>
        <p:nvSpPr>
          <p:cNvPr id="198" name="Elipse 197"/>
          <p:cNvSpPr/>
          <p:nvPr userDrawn="1"/>
        </p:nvSpPr>
        <p:spPr>
          <a:xfrm>
            <a:off x="5843987" y="3513277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99" name="CuadroTexto 198"/>
          <p:cNvSpPr txBox="1"/>
          <p:nvPr userDrawn="1"/>
        </p:nvSpPr>
        <p:spPr>
          <a:xfrm>
            <a:off x="5743339" y="3482944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8</a:t>
            </a:r>
          </a:p>
        </p:txBody>
      </p:sp>
      <p:sp>
        <p:nvSpPr>
          <p:cNvPr id="200" name="Elipse 199"/>
          <p:cNvSpPr/>
          <p:nvPr userDrawn="1"/>
        </p:nvSpPr>
        <p:spPr>
          <a:xfrm>
            <a:off x="5843987" y="3891705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01" name="CuadroTexto 200"/>
          <p:cNvSpPr txBox="1"/>
          <p:nvPr userDrawn="1"/>
        </p:nvSpPr>
        <p:spPr>
          <a:xfrm>
            <a:off x="5743339" y="3861373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9</a:t>
            </a:r>
          </a:p>
        </p:txBody>
      </p:sp>
      <p:sp>
        <p:nvSpPr>
          <p:cNvPr id="202" name="Elipse 201"/>
          <p:cNvSpPr/>
          <p:nvPr userDrawn="1"/>
        </p:nvSpPr>
        <p:spPr>
          <a:xfrm>
            <a:off x="5843987" y="4270133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03" name="CuadroTexto 202"/>
          <p:cNvSpPr txBox="1"/>
          <p:nvPr userDrawn="1"/>
        </p:nvSpPr>
        <p:spPr>
          <a:xfrm>
            <a:off x="5743339" y="4250657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10</a:t>
            </a:r>
          </a:p>
        </p:txBody>
      </p:sp>
      <p:sp>
        <p:nvSpPr>
          <p:cNvPr id="204" name="Elipse 203"/>
          <p:cNvSpPr/>
          <p:nvPr userDrawn="1"/>
        </p:nvSpPr>
        <p:spPr>
          <a:xfrm>
            <a:off x="5843987" y="4648561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05" name="CuadroTexto 204"/>
          <p:cNvSpPr txBox="1"/>
          <p:nvPr userDrawn="1"/>
        </p:nvSpPr>
        <p:spPr>
          <a:xfrm>
            <a:off x="5743339" y="4618229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11</a:t>
            </a:r>
          </a:p>
        </p:txBody>
      </p:sp>
      <p:sp>
        <p:nvSpPr>
          <p:cNvPr id="206" name="Elipse 205"/>
          <p:cNvSpPr/>
          <p:nvPr userDrawn="1"/>
        </p:nvSpPr>
        <p:spPr>
          <a:xfrm>
            <a:off x="5843987" y="5026989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07" name="CuadroTexto 206"/>
          <p:cNvSpPr txBox="1"/>
          <p:nvPr userDrawn="1"/>
        </p:nvSpPr>
        <p:spPr>
          <a:xfrm>
            <a:off x="5729984" y="4996657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12</a:t>
            </a:r>
          </a:p>
        </p:txBody>
      </p:sp>
      <p:sp>
        <p:nvSpPr>
          <p:cNvPr id="208" name="Elipse 207"/>
          <p:cNvSpPr/>
          <p:nvPr userDrawn="1"/>
        </p:nvSpPr>
        <p:spPr>
          <a:xfrm>
            <a:off x="5843987" y="5405417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09" name="CuadroTexto 208"/>
          <p:cNvSpPr txBox="1"/>
          <p:nvPr userDrawn="1"/>
        </p:nvSpPr>
        <p:spPr>
          <a:xfrm>
            <a:off x="5729984" y="5375085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13</a:t>
            </a:r>
          </a:p>
        </p:txBody>
      </p:sp>
      <p:sp>
        <p:nvSpPr>
          <p:cNvPr id="210" name="Elipse 209"/>
          <p:cNvSpPr/>
          <p:nvPr userDrawn="1"/>
        </p:nvSpPr>
        <p:spPr>
          <a:xfrm>
            <a:off x="5843987" y="5783845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11" name="CuadroTexto 210"/>
          <p:cNvSpPr txBox="1"/>
          <p:nvPr userDrawn="1"/>
        </p:nvSpPr>
        <p:spPr>
          <a:xfrm>
            <a:off x="5729984" y="5753513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14</a:t>
            </a:r>
          </a:p>
        </p:txBody>
      </p:sp>
      <p:sp>
        <p:nvSpPr>
          <p:cNvPr id="212" name="Elipse 211"/>
          <p:cNvSpPr/>
          <p:nvPr userDrawn="1"/>
        </p:nvSpPr>
        <p:spPr>
          <a:xfrm>
            <a:off x="5843987" y="6162275"/>
            <a:ext cx="292900" cy="23804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13" name="CuadroTexto 212"/>
          <p:cNvSpPr txBox="1"/>
          <p:nvPr userDrawn="1"/>
        </p:nvSpPr>
        <p:spPr>
          <a:xfrm>
            <a:off x="5729984" y="6131943"/>
            <a:ext cx="4941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200">
                <a:solidFill>
                  <a:srgbClr val="FFFFFF"/>
                </a:solidFill>
                <a:latin typeface="Arial"/>
                <a:cs typeface="Arial"/>
              </a:rPr>
              <a:t>15</a:t>
            </a:r>
          </a:p>
        </p:txBody>
      </p:sp>
      <p:sp>
        <p:nvSpPr>
          <p:cNvPr id="214" name="Elipse 213"/>
          <p:cNvSpPr/>
          <p:nvPr userDrawn="1"/>
        </p:nvSpPr>
        <p:spPr>
          <a:xfrm>
            <a:off x="7047495" y="858869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15" name="CuadroTexto 214"/>
          <p:cNvSpPr txBox="1"/>
          <p:nvPr userDrawn="1"/>
        </p:nvSpPr>
        <p:spPr>
          <a:xfrm>
            <a:off x="6990872" y="848926"/>
            <a:ext cx="4941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216" name="Elipse 215"/>
          <p:cNvSpPr/>
          <p:nvPr userDrawn="1"/>
        </p:nvSpPr>
        <p:spPr>
          <a:xfrm>
            <a:off x="7047495" y="1233188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17" name="CuadroTexto 216"/>
          <p:cNvSpPr txBox="1"/>
          <p:nvPr userDrawn="1"/>
        </p:nvSpPr>
        <p:spPr>
          <a:xfrm>
            <a:off x="6990872" y="1223245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218" name="Elipse 217"/>
          <p:cNvSpPr/>
          <p:nvPr userDrawn="1"/>
        </p:nvSpPr>
        <p:spPr>
          <a:xfrm>
            <a:off x="7047495" y="1607507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19" name="CuadroTexto 218"/>
          <p:cNvSpPr txBox="1"/>
          <p:nvPr userDrawn="1"/>
        </p:nvSpPr>
        <p:spPr>
          <a:xfrm>
            <a:off x="6990872" y="1597564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3</a:t>
            </a:r>
          </a:p>
        </p:txBody>
      </p:sp>
      <p:sp>
        <p:nvSpPr>
          <p:cNvPr id="220" name="Elipse 219"/>
          <p:cNvSpPr/>
          <p:nvPr userDrawn="1"/>
        </p:nvSpPr>
        <p:spPr>
          <a:xfrm>
            <a:off x="7047495" y="1981826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21" name="CuadroTexto 220"/>
          <p:cNvSpPr txBox="1"/>
          <p:nvPr userDrawn="1"/>
        </p:nvSpPr>
        <p:spPr>
          <a:xfrm>
            <a:off x="6990872" y="1971883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222" name="Elipse 221"/>
          <p:cNvSpPr/>
          <p:nvPr userDrawn="1"/>
        </p:nvSpPr>
        <p:spPr>
          <a:xfrm>
            <a:off x="7047495" y="2356145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23" name="CuadroTexto 222"/>
          <p:cNvSpPr txBox="1"/>
          <p:nvPr userDrawn="1"/>
        </p:nvSpPr>
        <p:spPr>
          <a:xfrm>
            <a:off x="6990872" y="2346202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5</a:t>
            </a:r>
          </a:p>
        </p:txBody>
      </p:sp>
      <p:sp>
        <p:nvSpPr>
          <p:cNvPr id="224" name="Elipse 223"/>
          <p:cNvSpPr/>
          <p:nvPr userDrawn="1"/>
        </p:nvSpPr>
        <p:spPr>
          <a:xfrm>
            <a:off x="7047495" y="2730464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25" name="CuadroTexto 224"/>
          <p:cNvSpPr txBox="1"/>
          <p:nvPr userDrawn="1"/>
        </p:nvSpPr>
        <p:spPr>
          <a:xfrm>
            <a:off x="6990872" y="2720521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6</a:t>
            </a:r>
          </a:p>
        </p:txBody>
      </p:sp>
      <p:sp>
        <p:nvSpPr>
          <p:cNvPr id="226" name="Elipse 225"/>
          <p:cNvSpPr/>
          <p:nvPr userDrawn="1"/>
        </p:nvSpPr>
        <p:spPr>
          <a:xfrm>
            <a:off x="7047495" y="3104783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27" name="CuadroTexto 226"/>
          <p:cNvSpPr txBox="1"/>
          <p:nvPr userDrawn="1"/>
        </p:nvSpPr>
        <p:spPr>
          <a:xfrm>
            <a:off x="6990872" y="3094840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7</a:t>
            </a:r>
          </a:p>
        </p:txBody>
      </p:sp>
      <p:sp>
        <p:nvSpPr>
          <p:cNvPr id="228" name="Elipse 227"/>
          <p:cNvSpPr/>
          <p:nvPr userDrawn="1"/>
        </p:nvSpPr>
        <p:spPr>
          <a:xfrm>
            <a:off x="7047495" y="3479102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29" name="CuadroTexto 228"/>
          <p:cNvSpPr txBox="1"/>
          <p:nvPr userDrawn="1"/>
        </p:nvSpPr>
        <p:spPr>
          <a:xfrm>
            <a:off x="6990872" y="3469158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8</a:t>
            </a:r>
          </a:p>
        </p:txBody>
      </p:sp>
      <p:sp>
        <p:nvSpPr>
          <p:cNvPr id="230" name="Elipse 229"/>
          <p:cNvSpPr/>
          <p:nvPr userDrawn="1"/>
        </p:nvSpPr>
        <p:spPr>
          <a:xfrm>
            <a:off x="7047495" y="3853421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31" name="CuadroTexto 230"/>
          <p:cNvSpPr txBox="1"/>
          <p:nvPr userDrawn="1"/>
        </p:nvSpPr>
        <p:spPr>
          <a:xfrm>
            <a:off x="6990872" y="3843478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9</a:t>
            </a:r>
          </a:p>
        </p:txBody>
      </p:sp>
      <p:sp>
        <p:nvSpPr>
          <p:cNvPr id="232" name="Elipse 231"/>
          <p:cNvSpPr/>
          <p:nvPr userDrawn="1"/>
        </p:nvSpPr>
        <p:spPr>
          <a:xfrm>
            <a:off x="7047495" y="4227740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33" name="CuadroTexto 232"/>
          <p:cNvSpPr txBox="1"/>
          <p:nvPr userDrawn="1"/>
        </p:nvSpPr>
        <p:spPr>
          <a:xfrm>
            <a:off x="6977516" y="4217797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10</a:t>
            </a:r>
          </a:p>
        </p:txBody>
      </p:sp>
      <p:sp>
        <p:nvSpPr>
          <p:cNvPr id="234" name="Elipse 233"/>
          <p:cNvSpPr/>
          <p:nvPr userDrawn="1"/>
        </p:nvSpPr>
        <p:spPr>
          <a:xfrm>
            <a:off x="7047495" y="4602059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35" name="CuadroTexto 234"/>
          <p:cNvSpPr txBox="1"/>
          <p:nvPr userDrawn="1"/>
        </p:nvSpPr>
        <p:spPr>
          <a:xfrm>
            <a:off x="6990872" y="4592116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11</a:t>
            </a:r>
          </a:p>
        </p:txBody>
      </p:sp>
      <p:sp>
        <p:nvSpPr>
          <p:cNvPr id="236" name="Elipse 235"/>
          <p:cNvSpPr/>
          <p:nvPr userDrawn="1"/>
        </p:nvSpPr>
        <p:spPr>
          <a:xfrm>
            <a:off x="7047495" y="4976378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37" name="CuadroTexto 236"/>
          <p:cNvSpPr txBox="1"/>
          <p:nvPr userDrawn="1"/>
        </p:nvSpPr>
        <p:spPr>
          <a:xfrm>
            <a:off x="6977516" y="4966435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12</a:t>
            </a:r>
          </a:p>
        </p:txBody>
      </p:sp>
      <p:sp>
        <p:nvSpPr>
          <p:cNvPr id="238" name="Elipse 237"/>
          <p:cNvSpPr/>
          <p:nvPr userDrawn="1"/>
        </p:nvSpPr>
        <p:spPr>
          <a:xfrm>
            <a:off x="7047495" y="5350697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39" name="CuadroTexto 238"/>
          <p:cNvSpPr txBox="1"/>
          <p:nvPr userDrawn="1"/>
        </p:nvSpPr>
        <p:spPr>
          <a:xfrm>
            <a:off x="6977516" y="5340754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13</a:t>
            </a:r>
          </a:p>
        </p:txBody>
      </p:sp>
      <p:sp>
        <p:nvSpPr>
          <p:cNvPr id="240" name="Elipse 239"/>
          <p:cNvSpPr/>
          <p:nvPr userDrawn="1"/>
        </p:nvSpPr>
        <p:spPr>
          <a:xfrm>
            <a:off x="7047495" y="5725016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41" name="CuadroTexto 240"/>
          <p:cNvSpPr txBox="1"/>
          <p:nvPr userDrawn="1"/>
        </p:nvSpPr>
        <p:spPr>
          <a:xfrm>
            <a:off x="6977516" y="5715073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14</a:t>
            </a:r>
          </a:p>
        </p:txBody>
      </p:sp>
      <p:sp>
        <p:nvSpPr>
          <p:cNvPr id="242" name="Elipse 241"/>
          <p:cNvSpPr/>
          <p:nvPr userDrawn="1"/>
        </p:nvSpPr>
        <p:spPr>
          <a:xfrm>
            <a:off x="7047495" y="6099341"/>
            <a:ext cx="380947" cy="3096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s-ES" sz="1050">
              <a:solidFill>
                <a:schemeClr val="tx1"/>
              </a:solidFill>
            </a:endParaRPr>
          </a:p>
        </p:txBody>
      </p:sp>
      <p:sp>
        <p:nvSpPr>
          <p:cNvPr id="243" name="CuadroTexto 242"/>
          <p:cNvSpPr txBox="1"/>
          <p:nvPr userDrawn="1"/>
        </p:nvSpPr>
        <p:spPr>
          <a:xfrm>
            <a:off x="6977516" y="6089398"/>
            <a:ext cx="49419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  <a:latin typeface="Arial"/>
                <a:cs typeface="Arial"/>
              </a:rPr>
              <a:t>15</a:t>
            </a:r>
          </a:p>
        </p:txBody>
      </p:sp>
    </p:spTree>
    <p:extLst>
      <p:ext uri="{BB962C8B-B14F-4D97-AF65-F5344CB8AC3E}">
        <p14:creationId xmlns:p14="http://schemas.microsoft.com/office/powerpoint/2010/main" val="26963152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PART _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ángulo 45"/>
          <p:cNvSpPr/>
          <p:nvPr userDrawn="1"/>
        </p:nvSpPr>
        <p:spPr>
          <a:xfrm>
            <a:off x="1" y="0"/>
            <a:ext cx="12188825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pic>
        <p:nvPicPr>
          <p:cNvPr id="3" name="Imagen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040" y="4264609"/>
            <a:ext cx="1137576" cy="861938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7460" y="4264609"/>
            <a:ext cx="839885" cy="861938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7891" y="4248807"/>
            <a:ext cx="840312" cy="861938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48" y="4191972"/>
            <a:ext cx="943562" cy="861938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7164" y="4191972"/>
            <a:ext cx="989478" cy="861938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0565" y="4358914"/>
            <a:ext cx="1531936" cy="613643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0460" y="4105438"/>
            <a:ext cx="649859" cy="861938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7173" y="2620218"/>
            <a:ext cx="733922" cy="861938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0319" y="2611922"/>
            <a:ext cx="1531936" cy="609455"/>
          </a:xfrm>
          <a:prstGeom prst="rect">
            <a:avLst/>
          </a:prstGeom>
        </p:spPr>
      </p:pic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646" y="2596188"/>
            <a:ext cx="1328673" cy="861938"/>
          </a:xfrm>
          <a:prstGeom prst="rect">
            <a:avLst/>
          </a:prstGeom>
        </p:spPr>
      </p:pic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0780" y="2724132"/>
            <a:ext cx="1531936" cy="606053"/>
          </a:xfrm>
          <a:prstGeom prst="rect">
            <a:avLst/>
          </a:prstGeom>
        </p:spPr>
      </p:pic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4175" y="2585771"/>
            <a:ext cx="1023223" cy="861938"/>
          </a:xfrm>
          <a:prstGeom prst="rect">
            <a:avLst/>
          </a:prstGeom>
        </p:spPr>
      </p:pic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7251" y="2585360"/>
            <a:ext cx="1531936" cy="839862"/>
          </a:xfrm>
          <a:prstGeom prst="rect">
            <a:avLst/>
          </a:prstGeom>
        </p:spPr>
      </p:pic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0130" y="2541730"/>
            <a:ext cx="697434" cy="861938"/>
          </a:xfrm>
          <a:prstGeom prst="rect">
            <a:avLst/>
          </a:prstGeom>
        </p:spPr>
      </p:pic>
      <p:pic>
        <p:nvPicPr>
          <p:cNvPr id="17" name="Imagen 16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950" y="2596188"/>
            <a:ext cx="485672" cy="861938"/>
          </a:xfrm>
          <a:prstGeom prst="rect">
            <a:avLst/>
          </a:prstGeom>
        </p:spPr>
      </p:pic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4379" y="1475639"/>
            <a:ext cx="1453353" cy="861938"/>
          </a:xfrm>
          <a:prstGeom prst="rect">
            <a:avLst/>
          </a:prstGeom>
        </p:spPr>
      </p:pic>
      <p:pic>
        <p:nvPicPr>
          <p:cNvPr id="19" name="Imagen 18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6729" y="1473593"/>
            <a:ext cx="664261" cy="861938"/>
          </a:xfrm>
          <a:prstGeom prst="rect">
            <a:avLst/>
          </a:prstGeom>
        </p:spPr>
      </p:pic>
      <p:pic>
        <p:nvPicPr>
          <p:cNvPr id="20" name="Imagen 19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0497" y="1436067"/>
            <a:ext cx="1170125" cy="861938"/>
          </a:xfrm>
          <a:prstGeom prst="rect">
            <a:avLst/>
          </a:prstGeom>
        </p:spPr>
      </p:pic>
      <p:pic>
        <p:nvPicPr>
          <p:cNvPr id="21" name="Imagen 20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0729" y="1475639"/>
            <a:ext cx="377342" cy="861938"/>
          </a:xfrm>
          <a:prstGeom prst="rect">
            <a:avLst/>
          </a:prstGeom>
        </p:spPr>
      </p:pic>
      <p:pic>
        <p:nvPicPr>
          <p:cNvPr id="22" name="Imagen 21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8508" y="1436067"/>
            <a:ext cx="1107318" cy="861938"/>
          </a:xfrm>
          <a:prstGeom prst="rect">
            <a:avLst/>
          </a:prstGeom>
        </p:spPr>
      </p:pic>
      <p:pic>
        <p:nvPicPr>
          <p:cNvPr id="27" name="Imagen 26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5993" y="344456"/>
            <a:ext cx="811780" cy="861938"/>
          </a:xfrm>
          <a:prstGeom prst="rect">
            <a:avLst/>
          </a:prstGeom>
        </p:spPr>
      </p:pic>
      <p:pic>
        <p:nvPicPr>
          <p:cNvPr id="28" name="Imagen 27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2369" y="329639"/>
            <a:ext cx="1027484" cy="861938"/>
          </a:xfrm>
          <a:prstGeom prst="rect">
            <a:avLst/>
          </a:prstGeom>
        </p:spPr>
      </p:pic>
      <p:pic>
        <p:nvPicPr>
          <p:cNvPr id="29" name="Imagen 28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6749" y="326076"/>
            <a:ext cx="891643" cy="861938"/>
          </a:xfrm>
          <a:prstGeom prst="rect">
            <a:avLst/>
          </a:prstGeom>
        </p:spPr>
      </p:pic>
      <p:pic>
        <p:nvPicPr>
          <p:cNvPr id="30" name="Imagen 29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9334" y="326076"/>
            <a:ext cx="1244710" cy="861938"/>
          </a:xfrm>
          <a:prstGeom prst="rect">
            <a:avLst/>
          </a:prstGeom>
        </p:spPr>
      </p:pic>
      <p:pic>
        <p:nvPicPr>
          <p:cNvPr id="31" name="Imagen 30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4732" y="345373"/>
            <a:ext cx="654709" cy="861938"/>
          </a:xfrm>
          <a:prstGeom prst="rect">
            <a:avLst/>
          </a:prstGeom>
        </p:spPr>
      </p:pic>
      <p:pic>
        <p:nvPicPr>
          <p:cNvPr id="32" name="Imagen 31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410" y="412475"/>
            <a:ext cx="1333431" cy="861938"/>
          </a:xfrm>
          <a:prstGeom prst="rect">
            <a:avLst/>
          </a:prstGeom>
        </p:spPr>
      </p:pic>
      <p:pic>
        <p:nvPicPr>
          <p:cNvPr id="33" name="Imagen 32"/>
          <p:cNvPicPr>
            <a:picLocks noChangeAspect="1"/>
          </p:cNvPicPr>
          <p:nvPr userDrawn="1"/>
        </p:nvPicPr>
        <p:blipFill>
          <a:blip r:embed="rId28" cstate="print"/>
          <a:stretch>
            <a:fillRect/>
          </a:stretch>
        </p:blipFill>
        <p:spPr>
          <a:xfrm>
            <a:off x="797730" y="5409189"/>
            <a:ext cx="1656392" cy="1351243"/>
          </a:xfrm>
          <a:prstGeom prst="rect">
            <a:avLst/>
          </a:prstGeom>
        </p:spPr>
      </p:pic>
      <p:pic>
        <p:nvPicPr>
          <p:cNvPr id="34" name="Imagen 33"/>
          <p:cNvPicPr>
            <a:picLocks noChangeAspect="1"/>
          </p:cNvPicPr>
          <p:nvPr userDrawn="1"/>
        </p:nvPicPr>
        <p:blipFill>
          <a:blip r:embed="rId29" cstate="print"/>
          <a:stretch>
            <a:fillRect/>
          </a:stretch>
        </p:blipFill>
        <p:spPr>
          <a:xfrm>
            <a:off x="2890130" y="5635691"/>
            <a:ext cx="819609" cy="987191"/>
          </a:xfrm>
          <a:prstGeom prst="rect">
            <a:avLst/>
          </a:prstGeom>
        </p:spPr>
      </p:pic>
      <p:pic>
        <p:nvPicPr>
          <p:cNvPr id="35" name="Imagen 34"/>
          <p:cNvPicPr>
            <a:picLocks noChangeAspect="1"/>
          </p:cNvPicPr>
          <p:nvPr userDrawn="1"/>
        </p:nvPicPr>
        <p:blipFill>
          <a:blip r:embed="rId30" cstate="print"/>
          <a:stretch>
            <a:fillRect/>
          </a:stretch>
        </p:blipFill>
        <p:spPr>
          <a:xfrm>
            <a:off x="3903985" y="5158457"/>
            <a:ext cx="1754002" cy="1601975"/>
          </a:xfrm>
          <a:prstGeom prst="rect">
            <a:avLst/>
          </a:prstGeom>
        </p:spPr>
      </p:pic>
      <p:pic>
        <p:nvPicPr>
          <p:cNvPr id="36" name="Imagen 35"/>
          <p:cNvPicPr>
            <a:picLocks noChangeAspect="1"/>
          </p:cNvPicPr>
          <p:nvPr userDrawn="1"/>
        </p:nvPicPr>
        <p:blipFill>
          <a:blip r:embed="rId31" cstate="print"/>
          <a:stretch>
            <a:fillRect/>
          </a:stretch>
        </p:blipFill>
        <p:spPr>
          <a:xfrm>
            <a:off x="5924176" y="5318450"/>
            <a:ext cx="1222522" cy="1441981"/>
          </a:xfrm>
          <a:prstGeom prst="rect">
            <a:avLst/>
          </a:prstGeom>
        </p:spPr>
      </p:pic>
      <p:pic>
        <p:nvPicPr>
          <p:cNvPr id="37" name="Imagen 36"/>
          <p:cNvPicPr>
            <a:picLocks noChangeAspect="1"/>
          </p:cNvPicPr>
          <p:nvPr userDrawn="1"/>
        </p:nvPicPr>
        <p:blipFill>
          <a:blip r:embed="rId32" cstate="print"/>
          <a:stretch>
            <a:fillRect/>
          </a:stretch>
        </p:blipFill>
        <p:spPr>
          <a:xfrm>
            <a:off x="7708040" y="5126547"/>
            <a:ext cx="1727432" cy="1636277"/>
          </a:xfrm>
          <a:prstGeom prst="rect">
            <a:avLst/>
          </a:prstGeom>
        </p:spPr>
      </p:pic>
      <p:pic>
        <p:nvPicPr>
          <p:cNvPr id="38" name="Imagen 37"/>
          <p:cNvPicPr>
            <a:picLocks noChangeAspect="1"/>
          </p:cNvPicPr>
          <p:nvPr userDrawn="1"/>
        </p:nvPicPr>
        <p:blipFill>
          <a:blip r:embed="rId33" cstate="print"/>
          <a:stretch>
            <a:fillRect/>
          </a:stretch>
        </p:blipFill>
        <p:spPr>
          <a:xfrm>
            <a:off x="9915834" y="5149847"/>
            <a:ext cx="684019" cy="1610584"/>
          </a:xfrm>
          <a:prstGeom prst="rect">
            <a:avLst/>
          </a:prstGeom>
        </p:spPr>
      </p:pic>
      <p:pic>
        <p:nvPicPr>
          <p:cNvPr id="39" name="Imagen 38"/>
          <p:cNvPicPr>
            <a:picLocks noChangeAspect="1"/>
          </p:cNvPicPr>
          <p:nvPr userDrawn="1"/>
        </p:nvPicPr>
        <p:blipFill>
          <a:blip r:embed="rId34" cstate="print"/>
          <a:stretch>
            <a:fillRect/>
          </a:stretch>
        </p:blipFill>
        <p:spPr>
          <a:xfrm>
            <a:off x="10967844" y="4264610"/>
            <a:ext cx="990950" cy="2446653"/>
          </a:xfrm>
          <a:prstGeom prst="rect">
            <a:avLst/>
          </a:prstGeom>
        </p:spPr>
      </p:pic>
      <p:pic>
        <p:nvPicPr>
          <p:cNvPr id="40" name="Imagen 39"/>
          <p:cNvPicPr>
            <a:picLocks noChangeAspect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0322" y="323671"/>
            <a:ext cx="1531936" cy="725843"/>
          </a:xfrm>
          <a:prstGeom prst="rect">
            <a:avLst/>
          </a:prstGeom>
        </p:spPr>
      </p:pic>
      <p:pic>
        <p:nvPicPr>
          <p:cNvPr id="41" name="Imagen 40"/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3611" y="323670"/>
            <a:ext cx="756872" cy="861938"/>
          </a:xfrm>
          <a:prstGeom prst="rect">
            <a:avLst/>
          </a:prstGeom>
        </p:spPr>
      </p:pic>
      <p:pic>
        <p:nvPicPr>
          <p:cNvPr id="42" name="Imagen 41"/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6150" y="323670"/>
            <a:ext cx="1060571" cy="861938"/>
          </a:xfrm>
          <a:prstGeom prst="rect">
            <a:avLst/>
          </a:prstGeom>
        </p:spPr>
      </p:pic>
      <p:pic>
        <p:nvPicPr>
          <p:cNvPr id="43" name="Imagen 42"/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9914" y="1475639"/>
            <a:ext cx="1060571" cy="861938"/>
          </a:xfrm>
          <a:prstGeom prst="rect">
            <a:avLst/>
          </a:prstGeom>
        </p:spPr>
      </p:pic>
      <p:pic>
        <p:nvPicPr>
          <p:cNvPr id="44" name="Imagen 43"/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6331" y="1475639"/>
            <a:ext cx="1060571" cy="861938"/>
          </a:xfrm>
          <a:prstGeom prst="rect">
            <a:avLst/>
          </a:prstGeom>
        </p:spPr>
      </p:pic>
      <p:pic>
        <p:nvPicPr>
          <p:cNvPr id="45" name="Imagen 44"/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180" y="1475639"/>
            <a:ext cx="1060571" cy="861938"/>
          </a:xfrm>
          <a:prstGeom prst="rect">
            <a:avLst/>
          </a:prstGeom>
        </p:spPr>
      </p:pic>
      <p:pic>
        <p:nvPicPr>
          <p:cNvPr id="47" name="Imagen 46"/>
          <p:cNvPicPr>
            <a:picLocks noChangeAspect="1"/>
          </p:cNvPicPr>
          <p:nvPr userDrawn="1"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954" y="1475639"/>
            <a:ext cx="1060571" cy="861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2618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PAR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ángulo 45"/>
          <p:cNvSpPr/>
          <p:nvPr userDrawn="1"/>
        </p:nvSpPr>
        <p:spPr>
          <a:xfrm>
            <a:off x="1" y="0"/>
            <a:ext cx="12188825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pic>
        <p:nvPicPr>
          <p:cNvPr id="3" name="Imagen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790" y="3185565"/>
            <a:ext cx="960015" cy="861938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0830" y="1947513"/>
            <a:ext cx="1371213" cy="861938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91" y="3337380"/>
            <a:ext cx="1531936" cy="558308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4423" y="1970145"/>
            <a:ext cx="1531936" cy="839306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0389" y="1952625"/>
            <a:ext cx="771956" cy="861938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1958" y="1947513"/>
            <a:ext cx="966353" cy="861938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4060" y="1904949"/>
            <a:ext cx="985064" cy="861938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085" y="1952625"/>
            <a:ext cx="1531936" cy="766586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2527" y="550937"/>
            <a:ext cx="1060571" cy="861938"/>
          </a:xfrm>
          <a:prstGeom prst="rect">
            <a:avLst/>
          </a:prstGeom>
        </p:spPr>
      </p:pic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5487" y="550937"/>
            <a:ext cx="1060571" cy="861938"/>
          </a:xfrm>
          <a:prstGeom prst="rect">
            <a:avLst/>
          </a:prstGeom>
        </p:spPr>
      </p:pic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5984" y="550937"/>
            <a:ext cx="1060571" cy="861938"/>
          </a:xfrm>
          <a:prstGeom prst="rect">
            <a:avLst/>
          </a:prstGeom>
        </p:spPr>
      </p:pic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9407" y="544946"/>
            <a:ext cx="845519" cy="861938"/>
          </a:xfrm>
          <a:prstGeom prst="rect">
            <a:avLst/>
          </a:prstGeom>
        </p:spPr>
      </p:pic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745" y="544946"/>
            <a:ext cx="1318781" cy="861938"/>
          </a:xfrm>
          <a:prstGeom prst="rect">
            <a:avLst/>
          </a:prstGeom>
        </p:spPr>
      </p:pic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436" y="544946"/>
            <a:ext cx="1060571" cy="861938"/>
          </a:xfrm>
          <a:prstGeom prst="rect">
            <a:avLst/>
          </a:prstGeom>
        </p:spPr>
      </p:pic>
      <p:pic>
        <p:nvPicPr>
          <p:cNvPr id="17" name="Imagen 16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665" y="544946"/>
            <a:ext cx="1208036" cy="861938"/>
          </a:xfrm>
          <a:prstGeom prst="rect">
            <a:avLst/>
          </a:prstGeom>
        </p:spPr>
      </p:pic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9158" y="4512264"/>
            <a:ext cx="780328" cy="861938"/>
          </a:xfrm>
          <a:prstGeom prst="rect">
            <a:avLst/>
          </a:prstGeom>
        </p:spPr>
      </p:pic>
      <p:pic>
        <p:nvPicPr>
          <p:cNvPr id="19" name="Imagen 18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1512" y="4721363"/>
            <a:ext cx="1531936" cy="443740"/>
          </a:xfrm>
          <a:prstGeom prst="rect">
            <a:avLst/>
          </a:prstGeom>
        </p:spPr>
      </p:pic>
      <p:pic>
        <p:nvPicPr>
          <p:cNvPr id="20" name="Imagen 19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4627" y="3337380"/>
            <a:ext cx="1060571" cy="861938"/>
          </a:xfrm>
          <a:prstGeom prst="rect">
            <a:avLst/>
          </a:prstGeom>
        </p:spPr>
      </p:pic>
      <p:pic>
        <p:nvPicPr>
          <p:cNvPr id="21" name="Imagen 20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92" y="4512264"/>
            <a:ext cx="1121368" cy="861938"/>
          </a:xfrm>
          <a:prstGeom prst="rect">
            <a:avLst/>
          </a:prstGeom>
        </p:spPr>
      </p:pic>
      <p:pic>
        <p:nvPicPr>
          <p:cNvPr id="22" name="Imagen 21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8518" y="3263707"/>
            <a:ext cx="1183149" cy="861938"/>
          </a:xfrm>
          <a:prstGeom prst="rect">
            <a:avLst/>
          </a:prstGeom>
        </p:spPr>
      </p:pic>
      <p:pic>
        <p:nvPicPr>
          <p:cNvPr id="23" name="Imagen 22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9142" y="3368618"/>
            <a:ext cx="887797" cy="861938"/>
          </a:xfrm>
          <a:prstGeom prst="rect">
            <a:avLst/>
          </a:prstGeom>
        </p:spPr>
      </p:pic>
      <p:pic>
        <p:nvPicPr>
          <p:cNvPr id="24" name="Imagen 23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2366" y="3185565"/>
            <a:ext cx="936896" cy="861938"/>
          </a:xfrm>
          <a:prstGeom prst="rect">
            <a:avLst/>
          </a:prstGeom>
        </p:spPr>
      </p:pic>
      <p:pic>
        <p:nvPicPr>
          <p:cNvPr id="25" name="Imagen 24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9407" y="3185565"/>
            <a:ext cx="884689" cy="861938"/>
          </a:xfrm>
          <a:prstGeom prst="rect">
            <a:avLst/>
          </a:prstGeom>
        </p:spPr>
      </p:pic>
      <p:pic>
        <p:nvPicPr>
          <p:cNvPr id="26" name="Imagen 25"/>
          <p:cNvPicPr>
            <a:picLocks noChangeAspect="1"/>
          </p:cNvPicPr>
          <p:nvPr userDrawn="1"/>
        </p:nvPicPr>
        <p:blipFill>
          <a:blip r:embed="rId25" cstate="print"/>
          <a:stretch>
            <a:fillRect/>
          </a:stretch>
        </p:blipFill>
        <p:spPr>
          <a:xfrm>
            <a:off x="6507986" y="4566403"/>
            <a:ext cx="1366328" cy="749907"/>
          </a:xfrm>
          <a:prstGeom prst="rect">
            <a:avLst/>
          </a:prstGeom>
        </p:spPr>
      </p:pic>
      <p:pic>
        <p:nvPicPr>
          <p:cNvPr id="27" name="Imagen 26"/>
          <p:cNvPicPr>
            <a:picLocks noChangeAspect="1"/>
          </p:cNvPicPr>
          <p:nvPr userDrawn="1"/>
        </p:nvPicPr>
        <p:blipFill>
          <a:blip r:embed="rId26" cstate="print"/>
          <a:stretch>
            <a:fillRect/>
          </a:stretch>
        </p:blipFill>
        <p:spPr>
          <a:xfrm>
            <a:off x="8096555" y="4566402"/>
            <a:ext cx="1367192" cy="748546"/>
          </a:xfrm>
          <a:prstGeom prst="rect">
            <a:avLst/>
          </a:prstGeom>
        </p:spPr>
      </p:pic>
      <p:pic>
        <p:nvPicPr>
          <p:cNvPr id="28" name="Imagen 27"/>
          <p:cNvPicPr>
            <a:picLocks noChangeAspect="1"/>
          </p:cNvPicPr>
          <p:nvPr userDrawn="1"/>
        </p:nvPicPr>
        <p:blipFill>
          <a:blip r:embed="rId27" cstate="print"/>
          <a:stretch>
            <a:fillRect/>
          </a:stretch>
        </p:blipFill>
        <p:spPr>
          <a:xfrm>
            <a:off x="9685988" y="4565638"/>
            <a:ext cx="1367192" cy="748546"/>
          </a:xfrm>
          <a:prstGeom prst="rect">
            <a:avLst/>
          </a:prstGeom>
        </p:spPr>
      </p:pic>
      <p:pic>
        <p:nvPicPr>
          <p:cNvPr id="29" name="Imagen 28"/>
          <p:cNvPicPr>
            <a:picLocks noChangeAspect="1"/>
          </p:cNvPicPr>
          <p:nvPr userDrawn="1"/>
        </p:nvPicPr>
        <p:blipFill>
          <a:blip r:embed="rId28" cstate="print"/>
          <a:stretch>
            <a:fillRect/>
          </a:stretch>
        </p:blipFill>
        <p:spPr>
          <a:xfrm>
            <a:off x="915229" y="5525305"/>
            <a:ext cx="1137234" cy="1164740"/>
          </a:xfrm>
          <a:prstGeom prst="rect">
            <a:avLst/>
          </a:prstGeom>
        </p:spPr>
      </p:pic>
      <p:grpSp>
        <p:nvGrpSpPr>
          <p:cNvPr id="30" name="Grupo 29"/>
          <p:cNvGrpSpPr/>
          <p:nvPr userDrawn="1"/>
        </p:nvGrpSpPr>
        <p:grpSpPr>
          <a:xfrm flipH="1">
            <a:off x="4807766" y="5640395"/>
            <a:ext cx="1464401" cy="1092696"/>
            <a:chOff x="4170903" y="2318397"/>
            <a:chExt cx="1190136" cy="1092696"/>
          </a:xfrm>
          <a:solidFill>
            <a:schemeClr val="accent2"/>
          </a:solidFill>
        </p:grpSpPr>
        <p:sp>
          <p:nvSpPr>
            <p:cNvPr id="31" name="Elipse 30"/>
            <p:cNvSpPr/>
            <p:nvPr/>
          </p:nvSpPr>
          <p:spPr>
            <a:xfrm>
              <a:off x="4170903" y="2318397"/>
              <a:ext cx="1190136" cy="106925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32" name="Triángulo isósceles 31"/>
            <p:cNvSpPr/>
            <p:nvPr/>
          </p:nvSpPr>
          <p:spPr>
            <a:xfrm rot="7916423">
              <a:off x="4982280" y="3089788"/>
              <a:ext cx="302342" cy="340267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</p:grpSp>
      <p:grpSp>
        <p:nvGrpSpPr>
          <p:cNvPr id="33" name="Grupo 32"/>
          <p:cNvGrpSpPr/>
          <p:nvPr userDrawn="1"/>
        </p:nvGrpSpPr>
        <p:grpSpPr>
          <a:xfrm>
            <a:off x="2726547" y="5333840"/>
            <a:ext cx="2087857" cy="1092696"/>
            <a:chOff x="3664213" y="2318397"/>
            <a:chExt cx="1696826" cy="1092696"/>
          </a:xfrm>
          <a:solidFill>
            <a:schemeClr val="accent1"/>
          </a:solidFill>
        </p:grpSpPr>
        <p:sp>
          <p:nvSpPr>
            <p:cNvPr id="34" name="Elipse 33"/>
            <p:cNvSpPr/>
            <p:nvPr/>
          </p:nvSpPr>
          <p:spPr>
            <a:xfrm>
              <a:off x="3664213" y="2318397"/>
              <a:ext cx="1696826" cy="106925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35" name="Triángulo isósceles 34"/>
            <p:cNvSpPr/>
            <p:nvPr/>
          </p:nvSpPr>
          <p:spPr>
            <a:xfrm rot="7916423">
              <a:off x="4982280" y="3089788"/>
              <a:ext cx="302342" cy="340267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</p:grpSp>
      <p:grpSp>
        <p:nvGrpSpPr>
          <p:cNvPr id="36" name="Grupo 35"/>
          <p:cNvGrpSpPr/>
          <p:nvPr userDrawn="1"/>
        </p:nvGrpSpPr>
        <p:grpSpPr>
          <a:xfrm>
            <a:off x="7299807" y="5489275"/>
            <a:ext cx="2037738" cy="1134758"/>
            <a:chOff x="5807793" y="3736169"/>
            <a:chExt cx="3312186" cy="2269516"/>
          </a:xfrm>
        </p:grpSpPr>
        <p:sp>
          <p:nvSpPr>
            <p:cNvPr id="37" name="Rectángulo redondeado 36"/>
            <p:cNvSpPr/>
            <p:nvPr/>
          </p:nvSpPr>
          <p:spPr>
            <a:xfrm>
              <a:off x="5807793" y="3736169"/>
              <a:ext cx="3312186" cy="2269516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38" name="Elipse 37"/>
            <p:cNvSpPr/>
            <p:nvPr/>
          </p:nvSpPr>
          <p:spPr>
            <a:xfrm>
              <a:off x="7871362" y="4157831"/>
              <a:ext cx="795776" cy="795776"/>
            </a:xfrm>
            <a:prstGeom prst="ellipse">
              <a:avLst/>
            </a:prstGeom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39" name="Triángulo isósceles 38"/>
            <p:cNvSpPr/>
            <p:nvPr/>
          </p:nvSpPr>
          <p:spPr>
            <a:xfrm rot="8243578">
              <a:off x="7987469" y="4259302"/>
              <a:ext cx="269330" cy="364995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cxnSp>
          <p:nvCxnSpPr>
            <p:cNvPr id="40" name="Conector recto 39"/>
            <p:cNvCxnSpPr/>
            <p:nvPr/>
          </p:nvCxnSpPr>
          <p:spPr>
            <a:xfrm>
              <a:off x="6135217" y="4229553"/>
              <a:ext cx="1386462" cy="0"/>
            </a:xfrm>
            <a:prstGeom prst="line">
              <a:avLst/>
            </a:prstGeom>
            <a:ln w="762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ector recto 40"/>
            <p:cNvCxnSpPr/>
            <p:nvPr/>
          </p:nvCxnSpPr>
          <p:spPr>
            <a:xfrm>
              <a:off x="6135217" y="4443315"/>
              <a:ext cx="1386462" cy="0"/>
            </a:xfrm>
            <a:prstGeom prst="line">
              <a:avLst/>
            </a:prstGeom>
            <a:ln w="762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Conector recto 41"/>
            <p:cNvCxnSpPr/>
            <p:nvPr/>
          </p:nvCxnSpPr>
          <p:spPr>
            <a:xfrm>
              <a:off x="6135217" y="4679167"/>
              <a:ext cx="1386462" cy="0"/>
            </a:xfrm>
            <a:prstGeom prst="line">
              <a:avLst/>
            </a:prstGeom>
            <a:ln w="762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Conector recto 42"/>
            <p:cNvCxnSpPr/>
            <p:nvPr/>
          </p:nvCxnSpPr>
          <p:spPr>
            <a:xfrm>
              <a:off x="6135217" y="4914991"/>
              <a:ext cx="1386462" cy="0"/>
            </a:xfrm>
            <a:prstGeom prst="line">
              <a:avLst/>
            </a:prstGeom>
            <a:ln w="762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ector recto 43"/>
            <p:cNvCxnSpPr/>
            <p:nvPr/>
          </p:nvCxnSpPr>
          <p:spPr>
            <a:xfrm>
              <a:off x="6135216" y="5306004"/>
              <a:ext cx="1386461" cy="0"/>
            </a:xfrm>
            <a:prstGeom prst="line">
              <a:avLst/>
            </a:prstGeom>
            <a:ln w="762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Conector recto 44"/>
            <p:cNvCxnSpPr/>
            <p:nvPr/>
          </p:nvCxnSpPr>
          <p:spPr>
            <a:xfrm>
              <a:off x="6135217" y="5561547"/>
              <a:ext cx="1386462" cy="0"/>
            </a:xfrm>
            <a:prstGeom prst="line">
              <a:avLst/>
            </a:prstGeom>
            <a:ln w="762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Conector recto 46"/>
            <p:cNvCxnSpPr/>
            <p:nvPr/>
          </p:nvCxnSpPr>
          <p:spPr>
            <a:xfrm>
              <a:off x="7790246" y="5129023"/>
              <a:ext cx="977670" cy="0"/>
            </a:xfrm>
            <a:prstGeom prst="line">
              <a:avLst/>
            </a:prstGeom>
            <a:ln w="381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ector recto 47"/>
            <p:cNvCxnSpPr/>
            <p:nvPr/>
          </p:nvCxnSpPr>
          <p:spPr>
            <a:xfrm>
              <a:off x="7790246" y="5232261"/>
              <a:ext cx="977670" cy="0"/>
            </a:xfrm>
            <a:prstGeom prst="line">
              <a:avLst/>
            </a:prstGeom>
            <a:ln w="381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ector recto 48"/>
            <p:cNvCxnSpPr/>
            <p:nvPr/>
          </p:nvCxnSpPr>
          <p:spPr>
            <a:xfrm>
              <a:off x="7790246" y="5335500"/>
              <a:ext cx="977670" cy="0"/>
            </a:xfrm>
            <a:prstGeom prst="line">
              <a:avLst/>
            </a:prstGeom>
            <a:ln w="381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ector recto 49"/>
            <p:cNvCxnSpPr/>
            <p:nvPr/>
          </p:nvCxnSpPr>
          <p:spPr>
            <a:xfrm>
              <a:off x="7790247" y="5519945"/>
              <a:ext cx="977670" cy="0"/>
            </a:xfrm>
            <a:prstGeom prst="line">
              <a:avLst/>
            </a:prstGeom>
            <a:ln w="381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onector recto 50"/>
            <p:cNvCxnSpPr/>
            <p:nvPr/>
          </p:nvCxnSpPr>
          <p:spPr>
            <a:xfrm>
              <a:off x="7790246" y="5623093"/>
              <a:ext cx="977670" cy="0"/>
            </a:xfrm>
            <a:prstGeom prst="line">
              <a:avLst/>
            </a:prstGeom>
            <a:ln w="38100" cap="rnd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2" name="Grupo 51"/>
          <p:cNvGrpSpPr/>
          <p:nvPr userDrawn="1"/>
        </p:nvGrpSpPr>
        <p:grpSpPr>
          <a:xfrm>
            <a:off x="9591408" y="5333841"/>
            <a:ext cx="1629702" cy="1421025"/>
            <a:chOff x="3554450" y="192796"/>
            <a:chExt cx="1324478" cy="1421025"/>
          </a:xfrm>
        </p:grpSpPr>
        <p:sp>
          <p:nvSpPr>
            <p:cNvPr id="53" name="Line 28"/>
            <p:cNvSpPr>
              <a:spLocks noChangeShapeType="1"/>
            </p:cNvSpPr>
            <p:nvPr/>
          </p:nvSpPr>
          <p:spPr bwMode="gray">
            <a:xfrm flipH="1">
              <a:off x="4544410" y="363319"/>
              <a:ext cx="114226" cy="146590"/>
            </a:xfrm>
            <a:prstGeom prst="line">
              <a:avLst/>
            </a:prstGeom>
            <a:noFill/>
            <a:ln w="30163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54" name="Line 29"/>
            <p:cNvSpPr>
              <a:spLocks noChangeShapeType="1"/>
            </p:cNvSpPr>
            <p:nvPr/>
          </p:nvSpPr>
          <p:spPr bwMode="gray">
            <a:xfrm>
              <a:off x="3714911" y="363319"/>
              <a:ext cx="116946" cy="146590"/>
            </a:xfrm>
            <a:prstGeom prst="line">
              <a:avLst/>
            </a:prstGeom>
            <a:noFill/>
            <a:ln w="30163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55" name="Line 30"/>
            <p:cNvSpPr>
              <a:spLocks noChangeShapeType="1"/>
            </p:cNvSpPr>
            <p:nvPr/>
          </p:nvSpPr>
          <p:spPr bwMode="gray">
            <a:xfrm flipV="1">
              <a:off x="3554450" y="898821"/>
              <a:ext cx="174059" cy="35899"/>
            </a:xfrm>
            <a:prstGeom prst="line">
              <a:avLst/>
            </a:prstGeom>
            <a:noFill/>
            <a:ln w="30163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56" name="Line 31"/>
            <p:cNvSpPr>
              <a:spLocks noChangeShapeType="1"/>
            </p:cNvSpPr>
            <p:nvPr/>
          </p:nvSpPr>
          <p:spPr bwMode="gray">
            <a:xfrm flipH="1" flipV="1">
              <a:off x="4699431" y="898821"/>
              <a:ext cx="179497" cy="35899"/>
            </a:xfrm>
            <a:prstGeom prst="line">
              <a:avLst/>
            </a:prstGeom>
            <a:noFill/>
            <a:ln w="30163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57" name="Line 38"/>
            <p:cNvSpPr>
              <a:spLocks noChangeShapeType="1"/>
            </p:cNvSpPr>
            <p:nvPr/>
          </p:nvSpPr>
          <p:spPr bwMode="gray">
            <a:xfrm>
              <a:off x="4190854" y="192796"/>
              <a:ext cx="0" cy="191465"/>
            </a:xfrm>
            <a:prstGeom prst="line">
              <a:avLst/>
            </a:prstGeom>
            <a:noFill/>
            <a:ln w="30163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58" name="Freeform 40"/>
            <p:cNvSpPr>
              <a:spLocks/>
            </p:cNvSpPr>
            <p:nvPr/>
          </p:nvSpPr>
          <p:spPr bwMode="gray">
            <a:xfrm>
              <a:off x="3823698" y="503924"/>
              <a:ext cx="739750" cy="882530"/>
            </a:xfrm>
            <a:custGeom>
              <a:avLst/>
              <a:gdLst>
                <a:gd name="T0" fmla="*/ 88 w 115"/>
                <a:gd name="T1" fmla="*/ 125 h 125"/>
                <a:gd name="T2" fmla="*/ 28 w 115"/>
                <a:gd name="T3" fmla="*/ 125 h 125"/>
                <a:gd name="T4" fmla="*/ 2 w 115"/>
                <a:gd name="T5" fmla="*/ 62 h 125"/>
                <a:gd name="T6" fmla="*/ 16 w 115"/>
                <a:gd name="T7" fmla="*/ 20 h 125"/>
                <a:gd name="T8" fmla="*/ 55 w 115"/>
                <a:gd name="T9" fmla="*/ 1 h 125"/>
                <a:gd name="T10" fmla="*/ 97 w 115"/>
                <a:gd name="T11" fmla="*/ 18 h 125"/>
                <a:gd name="T12" fmla="*/ 114 w 115"/>
                <a:gd name="T13" fmla="*/ 60 h 125"/>
                <a:gd name="T14" fmla="*/ 88 w 115"/>
                <a:gd name="T15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5" h="125">
                  <a:moveTo>
                    <a:pt x="88" y="125"/>
                  </a:moveTo>
                  <a:cubicBezTo>
                    <a:pt x="86" y="125"/>
                    <a:pt x="31" y="125"/>
                    <a:pt x="28" y="125"/>
                  </a:cubicBezTo>
                  <a:cubicBezTo>
                    <a:pt x="28" y="97"/>
                    <a:pt x="4" y="87"/>
                    <a:pt x="2" y="62"/>
                  </a:cubicBezTo>
                  <a:cubicBezTo>
                    <a:pt x="0" y="44"/>
                    <a:pt x="7" y="29"/>
                    <a:pt x="16" y="20"/>
                  </a:cubicBezTo>
                  <a:cubicBezTo>
                    <a:pt x="25" y="10"/>
                    <a:pt x="38" y="2"/>
                    <a:pt x="55" y="1"/>
                  </a:cubicBezTo>
                  <a:cubicBezTo>
                    <a:pt x="74" y="0"/>
                    <a:pt x="88" y="8"/>
                    <a:pt x="97" y="18"/>
                  </a:cubicBezTo>
                  <a:cubicBezTo>
                    <a:pt x="107" y="27"/>
                    <a:pt x="115" y="41"/>
                    <a:pt x="114" y="60"/>
                  </a:cubicBezTo>
                  <a:cubicBezTo>
                    <a:pt x="112" y="86"/>
                    <a:pt x="88" y="96"/>
                    <a:pt x="88" y="12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59" name="Freeform 41"/>
            <p:cNvSpPr>
              <a:spLocks/>
            </p:cNvSpPr>
            <p:nvPr/>
          </p:nvSpPr>
          <p:spPr bwMode="gray">
            <a:xfrm>
              <a:off x="4005916" y="1422356"/>
              <a:ext cx="383474" cy="191465"/>
            </a:xfrm>
            <a:custGeom>
              <a:avLst/>
              <a:gdLst>
                <a:gd name="T0" fmla="*/ 56 w 60"/>
                <a:gd name="T1" fmla="*/ 0 h 27"/>
                <a:gd name="T2" fmla="*/ 3 w 60"/>
                <a:gd name="T3" fmla="*/ 0 h 27"/>
                <a:gd name="T4" fmla="*/ 0 w 60"/>
                <a:gd name="T5" fmla="*/ 0 h 27"/>
                <a:gd name="T6" fmla="*/ 0 w 60"/>
                <a:gd name="T7" fmla="*/ 1 h 27"/>
                <a:gd name="T8" fmla="*/ 0 w 60"/>
                <a:gd name="T9" fmla="*/ 4 h 27"/>
                <a:gd name="T10" fmla="*/ 0 w 60"/>
                <a:gd name="T11" fmla="*/ 7 h 27"/>
                <a:gd name="T12" fmla="*/ 0 w 60"/>
                <a:gd name="T13" fmla="*/ 10 h 27"/>
                <a:gd name="T14" fmla="*/ 3 w 60"/>
                <a:gd name="T15" fmla="*/ 13 h 27"/>
                <a:gd name="T16" fmla="*/ 16 w 60"/>
                <a:gd name="T17" fmla="*/ 13 h 27"/>
                <a:gd name="T18" fmla="*/ 30 w 60"/>
                <a:gd name="T19" fmla="*/ 27 h 27"/>
                <a:gd name="T20" fmla="*/ 44 w 60"/>
                <a:gd name="T21" fmla="*/ 13 h 27"/>
                <a:gd name="T22" fmla="*/ 56 w 60"/>
                <a:gd name="T23" fmla="*/ 13 h 27"/>
                <a:gd name="T24" fmla="*/ 60 w 60"/>
                <a:gd name="T25" fmla="*/ 10 h 27"/>
                <a:gd name="T26" fmla="*/ 60 w 60"/>
                <a:gd name="T27" fmla="*/ 7 h 27"/>
                <a:gd name="T28" fmla="*/ 60 w 60"/>
                <a:gd name="T29" fmla="*/ 4 h 27"/>
                <a:gd name="T30" fmla="*/ 60 w 60"/>
                <a:gd name="T31" fmla="*/ 0 h 27"/>
                <a:gd name="T32" fmla="*/ 56 w 60"/>
                <a:gd name="T3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27">
                  <a:moveTo>
                    <a:pt x="56" y="0"/>
                  </a:moveTo>
                  <a:cubicBezTo>
                    <a:pt x="39" y="0"/>
                    <a:pt x="21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1" y="13"/>
                    <a:pt x="3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21"/>
                    <a:pt x="22" y="27"/>
                    <a:pt x="30" y="27"/>
                  </a:cubicBezTo>
                  <a:cubicBezTo>
                    <a:pt x="37" y="27"/>
                    <a:pt x="43" y="21"/>
                    <a:pt x="44" y="13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8" y="13"/>
                    <a:pt x="60" y="12"/>
                    <a:pt x="60" y="10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4"/>
                    <a:pt x="60" y="4"/>
                    <a:pt x="60" y="4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9" y="0"/>
                    <a:pt x="57" y="0"/>
                    <a:pt x="5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60" name="Freeform 42"/>
            <p:cNvSpPr>
              <a:spLocks noEditPoints="1"/>
            </p:cNvSpPr>
            <p:nvPr/>
          </p:nvSpPr>
          <p:spPr bwMode="gray">
            <a:xfrm>
              <a:off x="4043990" y="835997"/>
              <a:ext cx="114226" cy="125648"/>
            </a:xfrm>
            <a:custGeom>
              <a:avLst/>
              <a:gdLst>
                <a:gd name="T0" fmla="*/ 9 w 18"/>
                <a:gd name="T1" fmla="*/ 18 h 18"/>
                <a:gd name="T2" fmla="*/ 0 w 18"/>
                <a:gd name="T3" fmla="*/ 9 h 18"/>
                <a:gd name="T4" fmla="*/ 9 w 18"/>
                <a:gd name="T5" fmla="*/ 0 h 18"/>
                <a:gd name="T6" fmla="*/ 18 w 18"/>
                <a:gd name="T7" fmla="*/ 9 h 18"/>
                <a:gd name="T8" fmla="*/ 9 w 18"/>
                <a:gd name="T9" fmla="*/ 18 h 18"/>
                <a:gd name="T10" fmla="*/ 9 w 18"/>
                <a:gd name="T11" fmla="*/ 3 h 18"/>
                <a:gd name="T12" fmla="*/ 2 w 18"/>
                <a:gd name="T13" fmla="*/ 9 h 18"/>
                <a:gd name="T14" fmla="*/ 9 w 18"/>
                <a:gd name="T15" fmla="*/ 16 h 18"/>
                <a:gd name="T16" fmla="*/ 16 w 18"/>
                <a:gd name="T17" fmla="*/ 9 h 18"/>
                <a:gd name="T18" fmla="*/ 9 w 18"/>
                <a:gd name="T1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9" y="18"/>
                  </a:move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14"/>
                    <a:pt x="14" y="18"/>
                    <a:pt x="9" y="18"/>
                  </a:cubicBezTo>
                  <a:close/>
                  <a:moveTo>
                    <a:pt x="9" y="3"/>
                  </a:moveTo>
                  <a:cubicBezTo>
                    <a:pt x="5" y="3"/>
                    <a:pt x="2" y="5"/>
                    <a:pt x="2" y="9"/>
                  </a:cubicBezTo>
                  <a:cubicBezTo>
                    <a:pt x="2" y="13"/>
                    <a:pt x="5" y="16"/>
                    <a:pt x="9" y="16"/>
                  </a:cubicBezTo>
                  <a:cubicBezTo>
                    <a:pt x="13" y="16"/>
                    <a:pt x="16" y="13"/>
                    <a:pt x="16" y="9"/>
                  </a:cubicBezTo>
                  <a:cubicBezTo>
                    <a:pt x="16" y="5"/>
                    <a:pt x="13" y="3"/>
                    <a:pt x="9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61" name="Freeform 43"/>
            <p:cNvSpPr>
              <a:spLocks noEditPoints="1"/>
            </p:cNvSpPr>
            <p:nvPr/>
          </p:nvSpPr>
          <p:spPr bwMode="gray">
            <a:xfrm>
              <a:off x="4106544" y="835997"/>
              <a:ext cx="116946" cy="125648"/>
            </a:xfrm>
            <a:custGeom>
              <a:avLst/>
              <a:gdLst>
                <a:gd name="T0" fmla="*/ 9 w 18"/>
                <a:gd name="T1" fmla="*/ 18 h 18"/>
                <a:gd name="T2" fmla="*/ 0 w 18"/>
                <a:gd name="T3" fmla="*/ 9 h 18"/>
                <a:gd name="T4" fmla="*/ 9 w 18"/>
                <a:gd name="T5" fmla="*/ 0 h 18"/>
                <a:gd name="T6" fmla="*/ 18 w 18"/>
                <a:gd name="T7" fmla="*/ 9 h 18"/>
                <a:gd name="T8" fmla="*/ 9 w 18"/>
                <a:gd name="T9" fmla="*/ 18 h 18"/>
                <a:gd name="T10" fmla="*/ 9 w 18"/>
                <a:gd name="T11" fmla="*/ 3 h 18"/>
                <a:gd name="T12" fmla="*/ 2 w 18"/>
                <a:gd name="T13" fmla="*/ 9 h 18"/>
                <a:gd name="T14" fmla="*/ 9 w 18"/>
                <a:gd name="T15" fmla="*/ 16 h 18"/>
                <a:gd name="T16" fmla="*/ 16 w 18"/>
                <a:gd name="T17" fmla="*/ 9 h 18"/>
                <a:gd name="T18" fmla="*/ 9 w 18"/>
                <a:gd name="T1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9" y="18"/>
                  </a:move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14"/>
                    <a:pt x="14" y="18"/>
                    <a:pt x="9" y="18"/>
                  </a:cubicBezTo>
                  <a:close/>
                  <a:moveTo>
                    <a:pt x="9" y="3"/>
                  </a:moveTo>
                  <a:cubicBezTo>
                    <a:pt x="5" y="3"/>
                    <a:pt x="2" y="5"/>
                    <a:pt x="2" y="9"/>
                  </a:cubicBezTo>
                  <a:cubicBezTo>
                    <a:pt x="2" y="13"/>
                    <a:pt x="5" y="16"/>
                    <a:pt x="9" y="16"/>
                  </a:cubicBezTo>
                  <a:cubicBezTo>
                    <a:pt x="13" y="16"/>
                    <a:pt x="16" y="13"/>
                    <a:pt x="16" y="9"/>
                  </a:cubicBezTo>
                  <a:cubicBezTo>
                    <a:pt x="16" y="5"/>
                    <a:pt x="13" y="3"/>
                    <a:pt x="9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62" name="Freeform 44"/>
            <p:cNvSpPr>
              <a:spLocks noEditPoints="1"/>
            </p:cNvSpPr>
            <p:nvPr/>
          </p:nvSpPr>
          <p:spPr bwMode="gray">
            <a:xfrm>
              <a:off x="4171816" y="835997"/>
              <a:ext cx="114226" cy="125648"/>
            </a:xfrm>
            <a:custGeom>
              <a:avLst/>
              <a:gdLst>
                <a:gd name="T0" fmla="*/ 9 w 18"/>
                <a:gd name="T1" fmla="*/ 18 h 18"/>
                <a:gd name="T2" fmla="*/ 0 w 18"/>
                <a:gd name="T3" fmla="*/ 9 h 18"/>
                <a:gd name="T4" fmla="*/ 9 w 18"/>
                <a:gd name="T5" fmla="*/ 0 h 18"/>
                <a:gd name="T6" fmla="*/ 18 w 18"/>
                <a:gd name="T7" fmla="*/ 9 h 18"/>
                <a:gd name="T8" fmla="*/ 9 w 18"/>
                <a:gd name="T9" fmla="*/ 18 h 18"/>
                <a:gd name="T10" fmla="*/ 9 w 18"/>
                <a:gd name="T11" fmla="*/ 3 h 18"/>
                <a:gd name="T12" fmla="*/ 3 w 18"/>
                <a:gd name="T13" fmla="*/ 9 h 18"/>
                <a:gd name="T14" fmla="*/ 9 w 18"/>
                <a:gd name="T15" fmla="*/ 16 h 18"/>
                <a:gd name="T16" fmla="*/ 15 w 18"/>
                <a:gd name="T17" fmla="*/ 9 h 18"/>
                <a:gd name="T18" fmla="*/ 9 w 18"/>
                <a:gd name="T1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9" y="18"/>
                  </a:move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14"/>
                    <a:pt x="14" y="18"/>
                    <a:pt x="9" y="18"/>
                  </a:cubicBezTo>
                  <a:close/>
                  <a:moveTo>
                    <a:pt x="9" y="3"/>
                  </a:moveTo>
                  <a:cubicBezTo>
                    <a:pt x="5" y="3"/>
                    <a:pt x="3" y="5"/>
                    <a:pt x="3" y="9"/>
                  </a:cubicBezTo>
                  <a:cubicBezTo>
                    <a:pt x="3" y="13"/>
                    <a:pt x="5" y="16"/>
                    <a:pt x="9" y="16"/>
                  </a:cubicBezTo>
                  <a:cubicBezTo>
                    <a:pt x="13" y="16"/>
                    <a:pt x="15" y="13"/>
                    <a:pt x="15" y="9"/>
                  </a:cubicBezTo>
                  <a:cubicBezTo>
                    <a:pt x="15" y="5"/>
                    <a:pt x="13" y="3"/>
                    <a:pt x="9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63" name="Freeform 45"/>
            <p:cNvSpPr>
              <a:spLocks noEditPoints="1"/>
            </p:cNvSpPr>
            <p:nvPr/>
          </p:nvSpPr>
          <p:spPr bwMode="gray">
            <a:xfrm>
              <a:off x="4237087" y="835997"/>
              <a:ext cx="108787" cy="125648"/>
            </a:xfrm>
            <a:custGeom>
              <a:avLst/>
              <a:gdLst>
                <a:gd name="T0" fmla="*/ 9 w 17"/>
                <a:gd name="T1" fmla="*/ 18 h 18"/>
                <a:gd name="T2" fmla="*/ 0 w 17"/>
                <a:gd name="T3" fmla="*/ 9 h 18"/>
                <a:gd name="T4" fmla="*/ 9 w 17"/>
                <a:gd name="T5" fmla="*/ 0 h 18"/>
                <a:gd name="T6" fmla="*/ 17 w 17"/>
                <a:gd name="T7" fmla="*/ 9 h 18"/>
                <a:gd name="T8" fmla="*/ 9 w 17"/>
                <a:gd name="T9" fmla="*/ 18 h 18"/>
                <a:gd name="T10" fmla="*/ 9 w 17"/>
                <a:gd name="T11" fmla="*/ 3 h 18"/>
                <a:gd name="T12" fmla="*/ 2 w 17"/>
                <a:gd name="T13" fmla="*/ 9 h 18"/>
                <a:gd name="T14" fmla="*/ 9 w 17"/>
                <a:gd name="T15" fmla="*/ 16 h 18"/>
                <a:gd name="T16" fmla="*/ 15 w 17"/>
                <a:gd name="T17" fmla="*/ 9 h 18"/>
                <a:gd name="T18" fmla="*/ 9 w 17"/>
                <a:gd name="T1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18">
                  <a:moveTo>
                    <a:pt x="9" y="18"/>
                  </a:move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3" y="0"/>
                    <a:pt x="17" y="4"/>
                    <a:pt x="17" y="9"/>
                  </a:cubicBezTo>
                  <a:cubicBezTo>
                    <a:pt x="17" y="14"/>
                    <a:pt x="13" y="18"/>
                    <a:pt x="9" y="18"/>
                  </a:cubicBezTo>
                  <a:close/>
                  <a:moveTo>
                    <a:pt x="9" y="3"/>
                  </a:moveTo>
                  <a:cubicBezTo>
                    <a:pt x="5" y="3"/>
                    <a:pt x="2" y="5"/>
                    <a:pt x="2" y="9"/>
                  </a:cubicBezTo>
                  <a:cubicBezTo>
                    <a:pt x="2" y="13"/>
                    <a:pt x="5" y="16"/>
                    <a:pt x="9" y="16"/>
                  </a:cubicBezTo>
                  <a:cubicBezTo>
                    <a:pt x="12" y="16"/>
                    <a:pt x="15" y="13"/>
                    <a:pt x="15" y="9"/>
                  </a:cubicBezTo>
                  <a:cubicBezTo>
                    <a:pt x="15" y="5"/>
                    <a:pt x="12" y="3"/>
                    <a:pt x="9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64" name="Freeform 46"/>
            <p:cNvSpPr>
              <a:spLocks/>
            </p:cNvSpPr>
            <p:nvPr/>
          </p:nvSpPr>
          <p:spPr bwMode="gray">
            <a:xfrm>
              <a:off x="3984159" y="919761"/>
              <a:ext cx="187656" cy="496611"/>
            </a:xfrm>
            <a:custGeom>
              <a:avLst/>
              <a:gdLst>
                <a:gd name="T0" fmla="*/ 14 w 29"/>
                <a:gd name="T1" fmla="*/ 27 h 70"/>
                <a:gd name="T2" fmla="*/ 4 w 29"/>
                <a:gd name="T3" fmla="*/ 4 h 70"/>
                <a:gd name="T4" fmla="*/ 12 w 29"/>
                <a:gd name="T5" fmla="*/ 4 h 70"/>
                <a:gd name="T6" fmla="*/ 14 w 29"/>
                <a:gd name="T7" fmla="*/ 2 h 70"/>
                <a:gd name="T8" fmla="*/ 12 w 29"/>
                <a:gd name="T9" fmla="*/ 0 h 70"/>
                <a:gd name="T10" fmla="*/ 0 w 29"/>
                <a:gd name="T11" fmla="*/ 0 h 70"/>
                <a:gd name="T12" fmla="*/ 0 w 29"/>
                <a:gd name="T13" fmla="*/ 2 h 70"/>
                <a:gd name="T14" fmla="*/ 11 w 29"/>
                <a:gd name="T15" fmla="*/ 29 h 70"/>
                <a:gd name="T16" fmla="*/ 25 w 29"/>
                <a:gd name="T17" fmla="*/ 70 h 70"/>
                <a:gd name="T18" fmla="*/ 25 w 29"/>
                <a:gd name="T19" fmla="*/ 70 h 70"/>
                <a:gd name="T20" fmla="*/ 29 w 29"/>
                <a:gd name="T21" fmla="*/ 70 h 70"/>
                <a:gd name="T22" fmla="*/ 14 w 29"/>
                <a:gd name="T23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70">
                  <a:moveTo>
                    <a:pt x="14" y="27"/>
                  </a:moveTo>
                  <a:cubicBezTo>
                    <a:pt x="7" y="16"/>
                    <a:pt x="5" y="8"/>
                    <a:pt x="4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3" y="4"/>
                    <a:pt x="14" y="3"/>
                    <a:pt x="14" y="2"/>
                  </a:cubicBezTo>
                  <a:cubicBezTo>
                    <a:pt x="14" y="1"/>
                    <a:pt x="13" y="0"/>
                    <a:pt x="1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4"/>
                    <a:pt x="11" y="29"/>
                  </a:cubicBezTo>
                  <a:cubicBezTo>
                    <a:pt x="24" y="47"/>
                    <a:pt x="25" y="66"/>
                    <a:pt x="25" y="70"/>
                  </a:cubicBezTo>
                  <a:cubicBezTo>
                    <a:pt x="25" y="70"/>
                    <a:pt x="25" y="70"/>
                    <a:pt x="25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66"/>
                    <a:pt x="28" y="45"/>
                    <a:pt x="14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65" name="Freeform 47"/>
            <p:cNvSpPr>
              <a:spLocks/>
            </p:cNvSpPr>
            <p:nvPr/>
          </p:nvSpPr>
          <p:spPr bwMode="gray">
            <a:xfrm>
              <a:off x="4223490" y="919761"/>
              <a:ext cx="184938" cy="496611"/>
            </a:xfrm>
            <a:custGeom>
              <a:avLst/>
              <a:gdLst>
                <a:gd name="T0" fmla="*/ 17 w 29"/>
                <a:gd name="T1" fmla="*/ 0 h 70"/>
                <a:gd name="T2" fmla="*/ 15 w 29"/>
                <a:gd name="T3" fmla="*/ 2 h 70"/>
                <a:gd name="T4" fmla="*/ 17 w 29"/>
                <a:gd name="T5" fmla="*/ 4 h 70"/>
                <a:gd name="T6" fmla="*/ 25 w 29"/>
                <a:gd name="T7" fmla="*/ 4 h 70"/>
                <a:gd name="T8" fmla="*/ 14 w 29"/>
                <a:gd name="T9" fmla="*/ 27 h 70"/>
                <a:gd name="T10" fmla="*/ 0 w 29"/>
                <a:gd name="T11" fmla="*/ 70 h 70"/>
                <a:gd name="T12" fmla="*/ 4 w 29"/>
                <a:gd name="T13" fmla="*/ 70 h 70"/>
                <a:gd name="T14" fmla="*/ 4 w 29"/>
                <a:gd name="T15" fmla="*/ 70 h 70"/>
                <a:gd name="T16" fmla="*/ 17 w 29"/>
                <a:gd name="T17" fmla="*/ 29 h 70"/>
                <a:gd name="T18" fmla="*/ 29 w 29"/>
                <a:gd name="T19" fmla="*/ 2 h 70"/>
                <a:gd name="T20" fmla="*/ 29 w 29"/>
                <a:gd name="T21" fmla="*/ 0 h 70"/>
                <a:gd name="T22" fmla="*/ 17 w 29"/>
                <a:gd name="T23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70">
                  <a:moveTo>
                    <a:pt x="17" y="0"/>
                  </a:moveTo>
                  <a:cubicBezTo>
                    <a:pt x="16" y="0"/>
                    <a:pt x="15" y="1"/>
                    <a:pt x="15" y="2"/>
                  </a:cubicBezTo>
                  <a:cubicBezTo>
                    <a:pt x="15" y="3"/>
                    <a:pt x="16" y="4"/>
                    <a:pt x="17" y="4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4" y="8"/>
                    <a:pt x="22" y="16"/>
                    <a:pt x="14" y="27"/>
                  </a:cubicBezTo>
                  <a:cubicBezTo>
                    <a:pt x="0" y="45"/>
                    <a:pt x="0" y="66"/>
                    <a:pt x="0" y="70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4" y="66"/>
                    <a:pt x="4" y="47"/>
                    <a:pt x="17" y="29"/>
                  </a:cubicBezTo>
                  <a:cubicBezTo>
                    <a:pt x="28" y="14"/>
                    <a:pt x="29" y="2"/>
                    <a:pt x="29" y="2"/>
                  </a:cubicBezTo>
                  <a:cubicBezTo>
                    <a:pt x="29" y="0"/>
                    <a:pt x="29" y="0"/>
                    <a:pt x="29" y="0"/>
                  </a:cubicBez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91076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PAR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ángulo 45"/>
          <p:cNvSpPr/>
          <p:nvPr userDrawn="1"/>
        </p:nvSpPr>
        <p:spPr>
          <a:xfrm>
            <a:off x="1" y="0"/>
            <a:ext cx="12188825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" name="Rectángulo 2"/>
          <p:cNvSpPr/>
          <p:nvPr userDrawn="1"/>
        </p:nvSpPr>
        <p:spPr>
          <a:xfrm>
            <a:off x="8117324" y="1774633"/>
            <a:ext cx="1506666" cy="1076925"/>
          </a:xfrm>
          <a:prstGeom prst="rect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grpSp>
        <p:nvGrpSpPr>
          <p:cNvPr id="4" name="Group 13"/>
          <p:cNvGrpSpPr>
            <a:grpSpLocks noChangeAspect="1"/>
          </p:cNvGrpSpPr>
          <p:nvPr userDrawn="1"/>
        </p:nvGrpSpPr>
        <p:grpSpPr bwMode="gray">
          <a:xfrm>
            <a:off x="8354650" y="1856298"/>
            <a:ext cx="1007611" cy="910953"/>
            <a:chOff x="2734" y="2437"/>
            <a:chExt cx="427" cy="475"/>
          </a:xfrm>
        </p:grpSpPr>
        <p:sp>
          <p:nvSpPr>
            <p:cNvPr id="5" name="AutoShape 12"/>
            <p:cNvSpPr>
              <a:spLocks noChangeAspect="1" noChangeArrowheads="1" noTextEdit="1"/>
            </p:cNvSpPr>
            <p:nvPr/>
          </p:nvSpPr>
          <p:spPr bwMode="gray">
            <a:xfrm>
              <a:off x="2734" y="2437"/>
              <a:ext cx="425" cy="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</a:endParaRPr>
            </a:p>
          </p:txBody>
        </p:sp>
        <p:sp>
          <p:nvSpPr>
            <p:cNvPr id="6" name="Freeform 14"/>
            <p:cNvSpPr>
              <a:spLocks noEditPoints="1"/>
            </p:cNvSpPr>
            <p:nvPr/>
          </p:nvSpPr>
          <p:spPr bwMode="gray">
            <a:xfrm>
              <a:off x="3010" y="2439"/>
              <a:ext cx="151" cy="241"/>
            </a:xfrm>
            <a:custGeom>
              <a:avLst/>
              <a:gdLst>
                <a:gd name="T0" fmla="*/ 41 w 82"/>
                <a:gd name="T1" fmla="*/ 13 h 131"/>
                <a:gd name="T2" fmla="*/ 13 w 82"/>
                <a:gd name="T3" fmla="*/ 40 h 131"/>
                <a:gd name="T4" fmla="*/ 41 w 82"/>
                <a:gd name="T5" fmla="*/ 67 h 131"/>
                <a:gd name="T6" fmla="*/ 68 w 82"/>
                <a:gd name="T7" fmla="*/ 40 h 131"/>
                <a:gd name="T8" fmla="*/ 41 w 82"/>
                <a:gd name="T9" fmla="*/ 13 h 131"/>
                <a:gd name="T10" fmla="*/ 82 w 82"/>
                <a:gd name="T11" fmla="*/ 41 h 131"/>
                <a:gd name="T12" fmla="*/ 41 w 82"/>
                <a:gd name="T13" fmla="*/ 131 h 131"/>
                <a:gd name="T14" fmla="*/ 0 w 82"/>
                <a:gd name="T15" fmla="*/ 41 h 131"/>
                <a:gd name="T16" fmla="*/ 41 w 82"/>
                <a:gd name="T17" fmla="*/ 0 h 131"/>
                <a:gd name="T18" fmla="*/ 82 w 82"/>
                <a:gd name="T19" fmla="*/ 4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131">
                  <a:moveTo>
                    <a:pt x="41" y="13"/>
                  </a:moveTo>
                  <a:cubicBezTo>
                    <a:pt x="26" y="13"/>
                    <a:pt x="13" y="25"/>
                    <a:pt x="13" y="40"/>
                  </a:cubicBezTo>
                  <a:cubicBezTo>
                    <a:pt x="13" y="55"/>
                    <a:pt x="26" y="67"/>
                    <a:pt x="41" y="67"/>
                  </a:cubicBezTo>
                  <a:cubicBezTo>
                    <a:pt x="56" y="67"/>
                    <a:pt x="68" y="55"/>
                    <a:pt x="68" y="40"/>
                  </a:cubicBezTo>
                  <a:cubicBezTo>
                    <a:pt x="68" y="25"/>
                    <a:pt x="56" y="13"/>
                    <a:pt x="41" y="13"/>
                  </a:cubicBezTo>
                  <a:moveTo>
                    <a:pt x="82" y="41"/>
                  </a:moveTo>
                  <a:cubicBezTo>
                    <a:pt x="82" y="63"/>
                    <a:pt x="41" y="131"/>
                    <a:pt x="41" y="131"/>
                  </a:cubicBezTo>
                  <a:cubicBezTo>
                    <a:pt x="41" y="131"/>
                    <a:pt x="0" y="63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3" y="0"/>
                    <a:pt x="82" y="19"/>
                    <a:pt x="82" y="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</a:endParaRPr>
            </a:p>
          </p:txBody>
        </p:sp>
        <p:sp>
          <p:nvSpPr>
            <p:cNvPr id="7" name="Freeform 15"/>
            <p:cNvSpPr>
              <a:spLocks noEditPoints="1"/>
            </p:cNvSpPr>
            <p:nvPr/>
          </p:nvSpPr>
          <p:spPr bwMode="gray">
            <a:xfrm>
              <a:off x="2734" y="2542"/>
              <a:ext cx="427" cy="368"/>
            </a:xfrm>
            <a:custGeom>
              <a:avLst/>
              <a:gdLst>
                <a:gd name="T0" fmla="*/ 215 w 232"/>
                <a:gd name="T1" fmla="*/ 155 h 200"/>
                <a:gd name="T2" fmla="*/ 173 w 232"/>
                <a:gd name="T3" fmla="*/ 128 h 200"/>
                <a:gd name="T4" fmla="*/ 164 w 232"/>
                <a:gd name="T5" fmla="*/ 177 h 200"/>
                <a:gd name="T6" fmla="*/ 118 w 232"/>
                <a:gd name="T7" fmla="*/ 105 h 200"/>
                <a:gd name="T8" fmla="*/ 110 w 232"/>
                <a:gd name="T9" fmla="*/ 148 h 200"/>
                <a:gd name="T10" fmla="*/ 65 w 232"/>
                <a:gd name="T11" fmla="*/ 128 h 200"/>
                <a:gd name="T12" fmla="*/ 57 w 232"/>
                <a:gd name="T13" fmla="*/ 178 h 200"/>
                <a:gd name="T14" fmla="*/ 17 w 232"/>
                <a:gd name="T15" fmla="*/ 28 h 200"/>
                <a:gd name="T16" fmla="*/ 57 w 232"/>
                <a:gd name="T17" fmla="*/ 92 h 200"/>
                <a:gd name="T18" fmla="*/ 65 w 232"/>
                <a:gd name="T19" fmla="*/ 50 h 200"/>
                <a:gd name="T20" fmla="*/ 110 w 232"/>
                <a:gd name="T21" fmla="*/ 71 h 200"/>
                <a:gd name="T22" fmla="*/ 118 w 232"/>
                <a:gd name="T23" fmla="*/ 26 h 200"/>
                <a:gd name="T24" fmla="*/ 143 w 232"/>
                <a:gd name="T25" fmla="*/ 20 h 200"/>
                <a:gd name="T26" fmla="*/ 61 w 232"/>
                <a:gd name="T27" fmla="*/ 32 h 200"/>
                <a:gd name="T28" fmla="*/ 0 w 232"/>
                <a:gd name="T29" fmla="*/ 165 h 200"/>
                <a:gd name="T30" fmla="*/ 114 w 232"/>
                <a:gd name="T31" fmla="*/ 165 h 200"/>
                <a:gd name="T32" fmla="*/ 232 w 232"/>
                <a:gd name="T33" fmla="*/ 165 h 200"/>
                <a:gd name="T34" fmla="*/ 230 w 232"/>
                <a:gd name="T35" fmla="*/ 48 h 200"/>
                <a:gd name="T36" fmla="*/ 37 w 232"/>
                <a:gd name="T37" fmla="*/ 92 h 200"/>
                <a:gd name="T38" fmla="*/ 37 w 232"/>
                <a:gd name="T39" fmla="*/ 112 h 200"/>
                <a:gd name="T40" fmla="*/ 37 w 232"/>
                <a:gd name="T41" fmla="*/ 92 h 200"/>
                <a:gd name="T42" fmla="*/ 185 w 232"/>
                <a:gd name="T43" fmla="*/ 102 h 200"/>
                <a:gd name="T44" fmla="*/ 205 w 232"/>
                <a:gd name="T45" fmla="*/ 102 h 200"/>
                <a:gd name="T46" fmla="*/ 123 w 232"/>
                <a:gd name="T47" fmla="*/ 94 h 200"/>
                <a:gd name="T48" fmla="*/ 109 w 232"/>
                <a:gd name="T49" fmla="*/ 94 h 200"/>
                <a:gd name="T50" fmla="*/ 115 w 232"/>
                <a:gd name="T51" fmla="*/ 81 h 200"/>
                <a:gd name="T52" fmla="*/ 123 w 232"/>
                <a:gd name="T53" fmla="*/ 94 h 200"/>
                <a:gd name="T54" fmla="*/ 78 w 232"/>
                <a:gd name="T55" fmla="*/ 98 h 200"/>
                <a:gd name="T56" fmla="*/ 100 w 232"/>
                <a:gd name="T57" fmla="*/ 98 h 200"/>
                <a:gd name="T58" fmla="*/ 148 w 232"/>
                <a:gd name="T59" fmla="*/ 108 h 200"/>
                <a:gd name="T60" fmla="*/ 137 w 232"/>
                <a:gd name="T61" fmla="*/ 89 h 200"/>
                <a:gd name="T62" fmla="*/ 148 w 232"/>
                <a:gd name="T63" fmla="*/ 108 h 200"/>
                <a:gd name="T64" fmla="*/ 51 w 232"/>
                <a:gd name="T65" fmla="*/ 114 h 200"/>
                <a:gd name="T66" fmla="*/ 62 w 232"/>
                <a:gd name="T67" fmla="*/ 104 h 200"/>
                <a:gd name="T68" fmla="*/ 74 w 232"/>
                <a:gd name="T69" fmla="*/ 114 h 200"/>
                <a:gd name="T70" fmla="*/ 170 w 232"/>
                <a:gd name="T71" fmla="*/ 116 h 200"/>
                <a:gd name="T72" fmla="*/ 162 w 232"/>
                <a:gd name="T73" fmla="*/ 103 h 200"/>
                <a:gd name="T74" fmla="*/ 176 w 232"/>
                <a:gd name="T75" fmla="*/ 103 h 200"/>
                <a:gd name="T76" fmla="*/ 170 w 232"/>
                <a:gd name="T77" fmla="*/ 116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2" h="200">
                  <a:moveTo>
                    <a:pt x="215" y="75"/>
                  </a:moveTo>
                  <a:cubicBezTo>
                    <a:pt x="215" y="155"/>
                    <a:pt x="215" y="155"/>
                    <a:pt x="215" y="155"/>
                  </a:cubicBezTo>
                  <a:cubicBezTo>
                    <a:pt x="173" y="178"/>
                    <a:pt x="173" y="178"/>
                    <a:pt x="173" y="178"/>
                  </a:cubicBezTo>
                  <a:cubicBezTo>
                    <a:pt x="173" y="128"/>
                    <a:pt x="173" y="128"/>
                    <a:pt x="173" y="128"/>
                  </a:cubicBezTo>
                  <a:cubicBezTo>
                    <a:pt x="164" y="128"/>
                    <a:pt x="164" y="128"/>
                    <a:pt x="164" y="128"/>
                  </a:cubicBezTo>
                  <a:cubicBezTo>
                    <a:pt x="164" y="177"/>
                    <a:pt x="164" y="177"/>
                    <a:pt x="164" y="177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105"/>
                    <a:pt x="118" y="105"/>
                    <a:pt x="118" y="105"/>
                  </a:cubicBezTo>
                  <a:cubicBezTo>
                    <a:pt x="110" y="105"/>
                    <a:pt x="110" y="105"/>
                    <a:pt x="110" y="105"/>
                  </a:cubicBezTo>
                  <a:cubicBezTo>
                    <a:pt x="110" y="148"/>
                    <a:pt x="110" y="148"/>
                    <a:pt x="110" y="148"/>
                  </a:cubicBezTo>
                  <a:cubicBezTo>
                    <a:pt x="65" y="177"/>
                    <a:pt x="65" y="177"/>
                    <a:pt x="65" y="177"/>
                  </a:cubicBezTo>
                  <a:cubicBezTo>
                    <a:pt x="65" y="128"/>
                    <a:pt x="65" y="128"/>
                    <a:pt x="65" y="128"/>
                  </a:cubicBezTo>
                  <a:cubicBezTo>
                    <a:pt x="57" y="128"/>
                    <a:pt x="57" y="128"/>
                    <a:pt x="57" y="128"/>
                  </a:cubicBezTo>
                  <a:cubicBezTo>
                    <a:pt x="57" y="178"/>
                    <a:pt x="57" y="178"/>
                    <a:pt x="57" y="178"/>
                  </a:cubicBezTo>
                  <a:cubicBezTo>
                    <a:pt x="17" y="155"/>
                    <a:pt x="17" y="155"/>
                    <a:pt x="17" y="155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7" y="92"/>
                    <a:pt x="57" y="92"/>
                    <a:pt x="57" y="92"/>
                  </a:cubicBezTo>
                  <a:cubicBezTo>
                    <a:pt x="65" y="92"/>
                    <a:pt x="65" y="92"/>
                    <a:pt x="65" y="92"/>
                  </a:cubicBezTo>
                  <a:cubicBezTo>
                    <a:pt x="65" y="50"/>
                    <a:pt x="65" y="50"/>
                    <a:pt x="65" y="50"/>
                  </a:cubicBezTo>
                  <a:cubicBezTo>
                    <a:pt x="110" y="26"/>
                    <a:pt x="110" y="26"/>
                    <a:pt x="110" y="26"/>
                  </a:cubicBezTo>
                  <a:cubicBezTo>
                    <a:pt x="110" y="71"/>
                    <a:pt x="110" y="71"/>
                    <a:pt x="110" y="71"/>
                  </a:cubicBezTo>
                  <a:cubicBezTo>
                    <a:pt x="118" y="71"/>
                    <a:pt x="118" y="71"/>
                    <a:pt x="118" y="71"/>
                  </a:cubicBezTo>
                  <a:cubicBezTo>
                    <a:pt x="118" y="26"/>
                    <a:pt x="118" y="26"/>
                    <a:pt x="118" y="26"/>
                  </a:cubicBezTo>
                  <a:cubicBezTo>
                    <a:pt x="158" y="46"/>
                    <a:pt x="158" y="46"/>
                    <a:pt x="158" y="46"/>
                  </a:cubicBezTo>
                  <a:cubicBezTo>
                    <a:pt x="152" y="39"/>
                    <a:pt x="146" y="31"/>
                    <a:pt x="143" y="20"/>
                  </a:cubicBezTo>
                  <a:cubicBezTo>
                    <a:pt x="114" y="5"/>
                    <a:pt x="114" y="5"/>
                    <a:pt x="114" y="5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61" y="200"/>
                    <a:pt x="61" y="200"/>
                    <a:pt x="61" y="200"/>
                  </a:cubicBezTo>
                  <a:cubicBezTo>
                    <a:pt x="114" y="165"/>
                    <a:pt x="114" y="165"/>
                    <a:pt x="114" y="165"/>
                  </a:cubicBezTo>
                  <a:cubicBezTo>
                    <a:pt x="168" y="200"/>
                    <a:pt x="168" y="200"/>
                    <a:pt x="168" y="200"/>
                  </a:cubicBezTo>
                  <a:cubicBezTo>
                    <a:pt x="232" y="165"/>
                    <a:pt x="232" y="165"/>
                    <a:pt x="232" y="165"/>
                  </a:cubicBezTo>
                  <a:cubicBezTo>
                    <a:pt x="232" y="47"/>
                    <a:pt x="232" y="47"/>
                    <a:pt x="232" y="47"/>
                  </a:cubicBezTo>
                  <a:cubicBezTo>
                    <a:pt x="231" y="47"/>
                    <a:pt x="231" y="48"/>
                    <a:pt x="230" y="48"/>
                  </a:cubicBezTo>
                  <a:cubicBezTo>
                    <a:pt x="224" y="56"/>
                    <a:pt x="219" y="63"/>
                    <a:pt x="215" y="75"/>
                  </a:cubicBezTo>
                  <a:moveTo>
                    <a:pt x="37" y="92"/>
                  </a:moveTo>
                  <a:cubicBezTo>
                    <a:pt x="31" y="92"/>
                    <a:pt x="27" y="97"/>
                    <a:pt x="27" y="102"/>
                  </a:cubicBezTo>
                  <a:cubicBezTo>
                    <a:pt x="27" y="107"/>
                    <a:pt x="31" y="112"/>
                    <a:pt x="37" y="112"/>
                  </a:cubicBezTo>
                  <a:cubicBezTo>
                    <a:pt x="42" y="112"/>
                    <a:pt x="46" y="107"/>
                    <a:pt x="46" y="102"/>
                  </a:cubicBezTo>
                  <a:cubicBezTo>
                    <a:pt x="46" y="97"/>
                    <a:pt x="42" y="92"/>
                    <a:pt x="37" y="92"/>
                  </a:cubicBezTo>
                  <a:moveTo>
                    <a:pt x="195" y="92"/>
                  </a:moveTo>
                  <a:cubicBezTo>
                    <a:pt x="190" y="92"/>
                    <a:pt x="185" y="97"/>
                    <a:pt x="185" y="102"/>
                  </a:cubicBezTo>
                  <a:cubicBezTo>
                    <a:pt x="185" y="107"/>
                    <a:pt x="190" y="112"/>
                    <a:pt x="195" y="112"/>
                  </a:cubicBezTo>
                  <a:cubicBezTo>
                    <a:pt x="200" y="112"/>
                    <a:pt x="205" y="107"/>
                    <a:pt x="205" y="102"/>
                  </a:cubicBezTo>
                  <a:cubicBezTo>
                    <a:pt x="205" y="97"/>
                    <a:pt x="200" y="92"/>
                    <a:pt x="195" y="92"/>
                  </a:cubicBezTo>
                  <a:moveTo>
                    <a:pt x="123" y="94"/>
                  </a:moveTo>
                  <a:cubicBezTo>
                    <a:pt x="120" y="93"/>
                    <a:pt x="118" y="93"/>
                    <a:pt x="115" y="93"/>
                  </a:cubicBezTo>
                  <a:cubicBezTo>
                    <a:pt x="113" y="93"/>
                    <a:pt x="111" y="93"/>
                    <a:pt x="109" y="94"/>
                  </a:cubicBezTo>
                  <a:cubicBezTo>
                    <a:pt x="105" y="83"/>
                    <a:pt x="105" y="83"/>
                    <a:pt x="105" y="83"/>
                  </a:cubicBezTo>
                  <a:cubicBezTo>
                    <a:pt x="108" y="82"/>
                    <a:pt x="112" y="81"/>
                    <a:pt x="115" y="81"/>
                  </a:cubicBezTo>
                  <a:cubicBezTo>
                    <a:pt x="119" y="81"/>
                    <a:pt x="123" y="82"/>
                    <a:pt x="127" y="83"/>
                  </a:cubicBezTo>
                  <a:lnTo>
                    <a:pt x="123" y="94"/>
                  </a:lnTo>
                  <a:close/>
                  <a:moveTo>
                    <a:pt x="84" y="108"/>
                  </a:moveTo>
                  <a:cubicBezTo>
                    <a:pt x="78" y="98"/>
                    <a:pt x="78" y="98"/>
                    <a:pt x="78" y="98"/>
                  </a:cubicBezTo>
                  <a:cubicBezTo>
                    <a:pt x="94" y="88"/>
                    <a:pt x="94" y="88"/>
                    <a:pt x="94" y="88"/>
                  </a:cubicBezTo>
                  <a:cubicBezTo>
                    <a:pt x="100" y="98"/>
                    <a:pt x="100" y="98"/>
                    <a:pt x="100" y="98"/>
                  </a:cubicBezTo>
                  <a:lnTo>
                    <a:pt x="84" y="108"/>
                  </a:lnTo>
                  <a:close/>
                  <a:moveTo>
                    <a:pt x="148" y="108"/>
                  </a:moveTo>
                  <a:cubicBezTo>
                    <a:pt x="131" y="99"/>
                    <a:pt x="131" y="99"/>
                    <a:pt x="131" y="99"/>
                  </a:cubicBezTo>
                  <a:cubicBezTo>
                    <a:pt x="137" y="89"/>
                    <a:pt x="137" y="89"/>
                    <a:pt x="137" y="89"/>
                  </a:cubicBezTo>
                  <a:cubicBezTo>
                    <a:pt x="154" y="98"/>
                    <a:pt x="154" y="98"/>
                    <a:pt x="154" y="98"/>
                  </a:cubicBezTo>
                  <a:lnTo>
                    <a:pt x="148" y="108"/>
                  </a:lnTo>
                  <a:close/>
                  <a:moveTo>
                    <a:pt x="62" y="116"/>
                  </a:moveTo>
                  <a:cubicBezTo>
                    <a:pt x="59" y="116"/>
                    <a:pt x="55" y="115"/>
                    <a:pt x="51" y="114"/>
                  </a:cubicBezTo>
                  <a:cubicBezTo>
                    <a:pt x="55" y="103"/>
                    <a:pt x="55" y="103"/>
                    <a:pt x="55" y="103"/>
                  </a:cubicBezTo>
                  <a:cubicBezTo>
                    <a:pt x="58" y="104"/>
                    <a:pt x="60" y="104"/>
                    <a:pt x="62" y="104"/>
                  </a:cubicBezTo>
                  <a:cubicBezTo>
                    <a:pt x="65" y="104"/>
                    <a:pt x="67" y="104"/>
                    <a:pt x="70" y="103"/>
                  </a:cubicBezTo>
                  <a:cubicBezTo>
                    <a:pt x="74" y="114"/>
                    <a:pt x="74" y="114"/>
                    <a:pt x="74" y="114"/>
                  </a:cubicBezTo>
                  <a:cubicBezTo>
                    <a:pt x="70" y="115"/>
                    <a:pt x="66" y="116"/>
                    <a:pt x="62" y="116"/>
                  </a:cubicBezTo>
                  <a:moveTo>
                    <a:pt x="170" y="116"/>
                  </a:moveTo>
                  <a:cubicBezTo>
                    <a:pt x="166" y="116"/>
                    <a:pt x="162" y="115"/>
                    <a:pt x="158" y="114"/>
                  </a:cubicBezTo>
                  <a:cubicBezTo>
                    <a:pt x="162" y="103"/>
                    <a:pt x="162" y="103"/>
                    <a:pt x="162" y="103"/>
                  </a:cubicBezTo>
                  <a:cubicBezTo>
                    <a:pt x="165" y="104"/>
                    <a:pt x="167" y="104"/>
                    <a:pt x="170" y="104"/>
                  </a:cubicBezTo>
                  <a:cubicBezTo>
                    <a:pt x="172" y="104"/>
                    <a:pt x="174" y="104"/>
                    <a:pt x="176" y="103"/>
                  </a:cubicBezTo>
                  <a:cubicBezTo>
                    <a:pt x="180" y="114"/>
                    <a:pt x="180" y="114"/>
                    <a:pt x="180" y="114"/>
                  </a:cubicBezTo>
                  <a:cubicBezTo>
                    <a:pt x="177" y="115"/>
                    <a:pt x="173" y="116"/>
                    <a:pt x="170" y="1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8" name="Rectángulo 7"/>
          <p:cNvSpPr/>
          <p:nvPr userDrawn="1"/>
        </p:nvSpPr>
        <p:spPr>
          <a:xfrm>
            <a:off x="8121622" y="284531"/>
            <a:ext cx="1476978" cy="1215407"/>
          </a:xfrm>
          <a:prstGeom prst="rect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8038"/>
          <a:stretch/>
        </p:blipFill>
        <p:spPr bwMode="auto">
          <a:xfrm>
            <a:off x="8286399" y="328758"/>
            <a:ext cx="1173283" cy="1103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0" name="Group 52"/>
          <p:cNvGrpSpPr>
            <a:grpSpLocks noChangeAspect="1"/>
          </p:cNvGrpSpPr>
          <p:nvPr userDrawn="1"/>
        </p:nvGrpSpPr>
        <p:grpSpPr bwMode="gray">
          <a:xfrm>
            <a:off x="8286398" y="3202453"/>
            <a:ext cx="1115007" cy="1055899"/>
            <a:chOff x="2070" y="1223"/>
            <a:chExt cx="1616" cy="1883"/>
          </a:xfrm>
        </p:grpSpPr>
        <p:sp>
          <p:nvSpPr>
            <p:cNvPr id="11" name="Freeform 53"/>
            <p:cNvSpPr>
              <a:spLocks/>
            </p:cNvSpPr>
            <p:nvPr/>
          </p:nvSpPr>
          <p:spPr bwMode="gray">
            <a:xfrm>
              <a:off x="2155" y="1488"/>
              <a:ext cx="1464" cy="1001"/>
            </a:xfrm>
            <a:custGeom>
              <a:avLst/>
              <a:gdLst>
                <a:gd name="T0" fmla="*/ 620 w 620"/>
                <a:gd name="T1" fmla="*/ 400 h 424"/>
                <a:gd name="T2" fmla="*/ 596 w 620"/>
                <a:gd name="T3" fmla="*/ 424 h 424"/>
                <a:gd name="T4" fmla="*/ 24 w 620"/>
                <a:gd name="T5" fmla="*/ 424 h 424"/>
                <a:gd name="T6" fmla="*/ 0 w 620"/>
                <a:gd name="T7" fmla="*/ 400 h 424"/>
                <a:gd name="T8" fmla="*/ 0 w 620"/>
                <a:gd name="T9" fmla="*/ 24 h 424"/>
                <a:gd name="T10" fmla="*/ 24 w 620"/>
                <a:gd name="T11" fmla="*/ 0 h 424"/>
                <a:gd name="T12" fmla="*/ 596 w 620"/>
                <a:gd name="T13" fmla="*/ 0 h 424"/>
                <a:gd name="T14" fmla="*/ 620 w 620"/>
                <a:gd name="T15" fmla="*/ 24 h 424"/>
                <a:gd name="T16" fmla="*/ 620 w 620"/>
                <a:gd name="T17" fmla="*/ 400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0" h="424">
                  <a:moveTo>
                    <a:pt x="620" y="400"/>
                  </a:moveTo>
                  <a:cubicBezTo>
                    <a:pt x="620" y="413"/>
                    <a:pt x="609" y="424"/>
                    <a:pt x="596" y="424"/>
                  </a:cubicBezTo>
                  <a:cubicBezTo>
                    <a:pt x="24" y="424"/>
                    <a:pt x="24" y="424"/>
                    <a:pt x="24" y="424"/>
                  </a:cubicBezTo>
                  <a:cubicBezTo>
                    <a:pt x="11" y="424"/>
                    <a:pt x="0" y="413"/>
                    <a:pt x="0" y="40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596" y="0"/>
                    <a:pt x="596" y="0"/>
                    <a:pt x="596" y="0"/>
                  </a:cubicBezTo>
                  <a:cubicBezTo>
                    <a:pt x="609" y="0"/>
                    <a:pt x="620" y="11"/>
                    <a:pt x="620" y="24"/>
                  </a:cubicBezTo>
                  <a:lnTo>
                    <a:pt x="620" y="4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12" name="Oval 54"/>
            <p:cNvSpPr>
              <a:spLocks noChangeArrowheads="1"/>
            </p:cNvSpPr>
            <p:nvPr/>
          </p:nvSpPr>
          <p:spPr bwMode="gray">
            <a:xfrm>
              <a:off x="3093" y="1804"/>
              <a:ext cx="392" cy="39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13" name="Oval 55"/>
            <p:cNvSpPr>
              <a:spLocks noChangeArrowheads="1"/>
            </p:cNvSpPr>
            <p:nvPr/>
          </p:nvSpPr>
          <p:spPr bwMode="gray">
            <a:xfrm>
              <a:off x="3128" y="1840"/>
              <a:ext cx="321" cy="32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14" name="Freeform 56"/>
            <p:cNvSpPr>
              <a:spLocks/>
            </p:cNvSpPr>
            <p:nvPr/>
          </p:nvSpPr>
          <p:spPr bwMode="gray">
            <a:xfrm>
              <a:off x="3109" y="1913"/>
              <a:ext cx="180" cy="154"/>
            </a:xfrm>
            <a:custGeom>
              <a:avLst/>
              <a:gdLst>
                <a:gd name="T0" fmla="*/ 0 w 180"/>
                <a:gd name="T1" fmla="*/ 154 h 154"/>
                <a:gd name="T2" fmla="*/ 180 w 180"/>
                <a:gd name="T3" fmla="*/ 88 h 154"/>
                <a:gd name="T4" fmla="*/ 14 w 180"/>
                <a:gd name="T5" fmla="*/ 0 h 154"/>
                <a:gd name="T6" fmla="*/ 0 w 180"/>
                <a:gd name="T7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0" h="154">
                  <a:moveTo>
                    <a:pt x="0" y="154"/>
                  </a:moveTo>
                  <a:lnTo>
                    <a:pt x="180" y="88"/>
                  </a:lnTo>
                  <a:lnTo>
                    <a:pt x="14" y="0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15" name="Freeform 57"/>
            <p:cNvSpPr>
              <a:spLocks/>
            </p:cNvSpPr>
            <p:nvPr/>
          </p:nvSpPr>
          <p:spPr bwMode="gray">
            <a:xfrm>
              <a:off x="3109" y="1913"/>
              <a:ext cx="180" cy="154"/>
            </a:xfrm>
            <a:custGeom>
              <a:avLst/>
              <a:gdLst>
                <a:gd name="T0" fmla="*/ 0 w 180"/>
                <a:gd name="T1" fmla="*/ 154 h 154"/>
                <a:gd name="T2" fmla="*/ 180 w 180"/>
                <a:gd name="T3" fmla="*/ 88 h 154"/>
                <a:gd name="T4" fmla="*/ 14 w 180"/>
                <a:gd name="T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0" h="154">
                  <a:moveTo>
                    <a:pt x="0" y="154"/>
                  </a:moveTo>
                  <a:lnTo>
                    <a:pt x="180" y="88"/>
                  </a:lnTo>
                  <a:lnTo>
                    <a:pt x="1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16" name="Freeform 58"/>
            <p:cNvSpPr>
              <a:spLocks/>
            </p:cNvSpPr>
            <p:nvPr/>
          </p:nvSpPr>
          <p:spPr bwMode="gray">
            <a:xfrm>
              <a:off x="3109" y="2234"/>
              <a:ext cx="378" cy="29"/>
            </a:xfrm>
            <a:custGeom>
              <a:avLst/>
              <a:gdLst>
                <a:gd name="T0" fmla="*/ 160 w 160"/>
                <a:gd name="T1" fmla="*/ 7 h 12"/>
                <a:gd name="T2" fmla="*/ 155 w 160"/>
                <a:gd name="T3" fmla="*/ 12 h 12"/>
                <a:gd name="T4" fmla="*/ 6 w 160"/>
                <a:gd name="T5" fmla="*/ 12 h 12"/>
                <a:gd name="T6" fmla="*/ 0 w 160"/>
                <a:gd name="T7" fmla="*/ 7 h 12"/>
                <a:gd name="T8" fmla="*/ 0 w 160"/>
                <a:gd name="T9" fmla="*/ 6 h 12"/>
                <a:gd name="T10" fmla="*/ 6 w 160"/>
                <a:gd name="T11" fmla="*/ 0 h 12"/>
                <a:gd name="T12" fmla="*/ 155 w 160"/>
                <a:gd name="T13" fmla="*/ 0 h 12"/>
                <a:gd name="T14" fmla="*/ 160 w 160"/>
                <a:gd name="T15" fmla="*/ 6 h 12"/>
                <a:gd name="T16" fmla="*/ 160 w 160"/>
                <a:gd name="T17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0" h="12">
                  <a:moveTo>
                    <a:pt x="160" y="7"/>
                  </a:moveTo>
                  <a:cubicBezTo>
                    <a:pt x="160" y="10"/>
                    <a:pt x="158" y="12"/>
                    <a:pt x="155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8" y="0"/>
                    <a:pt x="160" y="2"/>
                    <a:pt x="160" y="6"/>
                  </a:cubicBezTo>
                  <a:lnTo>
                    <a:pt x="160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17" name="Freeform 59"/>
            <p:cNvSpPr>
              <a:spLocks/>
            </p:cNvSpPr>
            <p:nvPr/>
          </p:nvSpPr>
          <p:spPr bwMode="gray">
            <a:xfrm>
              <a:off x="3109" y="2291"/>
              <a:ext cx="378" cy="28"/>
            </a:xfrm>
            <a:custGeom>
              <a:avLst/>
              <a:gdLst>
                <a:gd name="T0" fmla="*/ 160 w 160"/>
                <a:gd name="T1" fmla="*/ 7 h 12"/>
                <a:gd name="T2" fmla="*/ 155 w 160"/>
                <a:gd name="T3" fmla="*/ 12 h 12"/>
                <a:gd name="T4" fmla="*/ 6 w 160"/>
                <a:gd name="T5" fmla="*/ 12 h 12"/>
                <a:gd name="T6" fmla="*/ 0 w 160"/>
                <a:gd name="T7" fmla="*/ 7 h 12"/>
                <a:gd name="T8" fmla="*/ 0 w 160"/>
                <a:gd name="T9" fmla="*/ 6 h 12"/>
                <a:gd name="T10" fmla="*/ 6 w 160"/>
                <a:gd name="T11" fmla="*/ 0 h 12"/>
                <a:gd name="T12" fmla="*/ 155 w 160"/>
                <a:gd name="T13" fmla="*/ 0 h 12"/>
                <a:gd name="T14" fmla="*/ 160 w 160"/>
                <a:gd name="T15" fmla="*/ 6 h 12"/>
                <a:gd name="T16" fmla="*/ 160 w 160"/>
                <a:gd name="T17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0" h="12">
                  <a:moveTo>
                    <a:pt x="160" y="7"/>
                  </a:moveTo>
                  <a:cubicBezTo>
                    <a:pt x="160" y="10"/>
                    <a:pt x="158" y="12"/>
                    <a:pt x="155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8" y="0"/>
                    <a:pt x="160" y="2"/>
                    <a:pt x="160" y="6"/>
                  </a:cubicBezTo>
                  <a:lnTo>
                    <a:pt x="160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18" name="Freeform 60"/>
            <p:cNvSpPr>
              <a:spLocks/>
            </p:cNvSpPr>
            <p:nvPr/>
          </p:nvSpPr>
          <p:spPr bwMode="gray">
            <a:xfrm>
              <a:off x="2306" y="1620"/>
              <a:ext cx="680" cy="123"/>
            </a:xfrm>
            <a:custGeom>
              <a:avLst/>
              <a:gdLst>
                <a:gd name="T0" fmla="*/ 288 w 288"/>
                <a:gd name="T1" fmla="*/ 28 h 52"/>
                <a:gd name="T2" fmla="*/ 264 w 288"/>
                <a:gd name="T3" fmla="*/ 52 h 52"/>
                <a:gd name="T4" fmla="*/ 24 w 288"/>
                <a:gd name="T5" fmla="*/ 52 h 52"/>
                <a:gd name="T6" fmla="*/ 0 w 288"/>
                <a:gd name="T7" fmla="*/ 28 h 52"/>
                <a:gd name="T8" fmla="*/ 0 w 288"/>
                <a:gd name="T9" fmla="*/ 24 h 52"/>
                <a:gd name="T10" fmla="*/ 24 w 288"/>
                <a:gd name="T11" fmla="*/ 0 h 52"/>
                <a:gd name="T12" fmla="*/ 264 w 288"/>
                <a:gd name="T13" fmla="*/ 0 h 52"/>
                <a:gd name="T14" fmla="*/ 288 w 288"/>
                <a:gd name="T15" fmla="*/ 24 h 52"/>
                <a:gd name="T16" fmla="*/ 288 w 288"/>
                <a:gd name="T17" fmla="*/ 28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8" h="52">
                  <a:moveTo>
                    <a:pt x="288" y="28"/>
                  </a:moveTo>
                  <a:cubicBezTo>
                    <a:pt x="288" y="41"/>
                    <a:pt x="277" y="52"/>
                    <a:pt x="26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11" y="52"/>
                    <a:pt x="0" y="41"/>
                    <a:pt x="0" y="2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77" y="0"/>
                    <a:pt x="288" y="11"/>
                    <a:pt x="288" y="24"/>
                  </a:cubicBezTo>
                  <a:lnTo>
                    <a:pt x="288" y="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19" name="Freeform 61"/>
            <p:cNvSpPr>
              <a:spLocks/>
            </p:cNvSpPr>
            <p:nvPr/>
          </p:nvSpPr>
          <p:spPr bwMode="gray">
            <a:xfrm>
              <a:off x="2268" y="1866"/>
              <a:ext cx="76" cy="75"/>
            </a:xfrm>
            <a:custGeom>
              <a:avLst/>
              <a:gdLst>
                <a:gd name="T0" fmla="*/ 32 w 32"/>
                <a:gd name="T1" fmla="*/ 17 h 32"/>
                <a:gd name="T2" fmla="*/ 17 w 32"/>
                <a:gd name="T3" fmla="*/ 32 h 32"/>
                <a:gd name="T4" fmla="*/ 16 w 32"/>
                <a:gd name="T5" fmla="*/ 32 h 32"/>
                <a:gd name="T6" fmla="*/ 0 w 32"/>
                <a:gd name="T7" fmla="*/ 17 h 32"/>
                <a:gd name="T8" fmla="*/ 0 w 32"/>
                <a:gd name="T9" fmla="*/ 16 h 32"/>
                <a:gd name="T10" fmla="*/ 16 w 32"/>
                <a:gd name="T11" fmla="*/ 0 h 32"/>
                <a:gd name="T12" fmla="*/ 17 w 32"/>
                <a:gd name="T13" fmla="*/ 0 h 32"/>
                <a:gd name="T14" fmla="*/ 32 w 32"/>
                <a:gd name="T15" fmla="*/ 16 h 32"/>
                <a:gd name="T16" fmla="*/ 32 w 32"/>
                <a:gd name="T17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2">
                  <a:moveTo>
                    <a:pt x="32" y="17"/>
                  </a:moveTo>
                  <a:cubicBezTo>
                    <a:pt x="32" y="25"/>
                    <a:pt x="25" y="32"/>
                    <a:pt x="17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5" y="0"/>
                    <a:pt x="32" y="7"/>
                    <a:pt x="32" y="16"/>
                  </a:cubicBezTo>
                  <a:lnTo>
                    <a:pt x="32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20" name="Freeform 62"/>
            <p:cNvSpPr>
              <a:spLocks/>
            </p:cNvSpPr>
            <p:nvPr/>
          </p:nvSpPr>
          <p:spPr bwMode="gray">
            <a:xfrm>
              <a:off x="2268" y="1998"/>
              <a:ext cx="76" cy="76"/>
            </a:xfrm>
            <a:custGeom>
              <a:avLst/>
              <a:gdLst>
                <a:gd name="T0" fmla="*/ 32 w 32"/>
                <a:gd name="T1" fmla="*/ 17 h 32"/>
                <a:gd name="T2" fmla="*/ 17 w 32"/>
                <a:gd name="T3" fmla="*/ 32 h 32"/>
                <a:gd name="T4" fmla="*/ 16 w 32"/>
                <a:gd name="T5" fmla="*/ 32 h 32"/>
                <a:gd name="T6" fmla="*/ 0 w 32"/>
                <a:gd name="T7" fmla="*/ 17 h 32"/>
                <a:gd name="T8" fmla="*/ 0 w 32"/>
                <a:gd name="T9" fmla="*/ 16 h 32"/>
                <a:gd name="T10" fmla="*/ 16 w 32"/>
                <a:gd name="T11" fmla="*/ 0 h 32"/>
                <a:gd name="T12" fmla="*/ 17 w 32"/>
                <a:gd name="T13" fmla="*/ 0 h 32"/>
                <a:gd name="T14" fmla="*/ 32 w 32"/>
                <a:gd name="T15" fmla="*/ 16 h 32"/>
                <a:gd name="T16" fmla="*/ 32 w 32"/>
                <a:gd name="T17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2">
                  <a:moveTo>
                    <a:pt x="32" y="17"/>
                  </a:moveTo>
                  <a:cubicBezTo>
                    <a:pt x="32" y="25"/>
                    <a:pt x="25" y="32"/>
                    <a:pt x="17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5" y="0"/>
                    <a:pt x="32" y="7"/>
                    <a:pt x="32" y="16"/>
                  </a:cubicBezTo>
                  <a:lnTo>
                    <a:pt x="32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21" name="Freeform 63"/>
            <p:cNvSpPr>
              <a:spLocks/>
            </p:cNvSpPr>
            <p:nvPr/>
          </p:nvSpPr>
          <p:spPr bwMode="gray">
            <a:xfrm>
              <a:off x="2268" y="2130"/>
              <a:ext cx="76" cy="76"/>
            </a:xfrm>
            <a:custGeom>
              <a:avLst/>
              <a:gdLst>
                <a:gd name="T0" fmla="*/ 32 w 32"/>
                <a:gd name="T1" fmla="*/ 17 h 32"/>
                <a:gd name="T2" fmla="*/ 17 w 32"/>
                <a:gd name="T3" fmla="*/ 32 h 32"/>
                <a:gd name="T4" fmla="*/ 16 w 32"/>
                <a:gd name="T5" fmla="*/ 32 h 32"/>
                <a:gd name="T6" fmla="*/ 0 w 32"/>
                <a:gd name="T7" fmla="*/ 17 h 32"/>
                <a:gd name="T8" fmla="*/ 0 w 32"/>
                <a:gd name="T9" fmla="*/ 16 h 32"/>
                <a:gd name="T10" fmla="*/ 16 w 32"/>
                <a:gd name="T11" fmla="*/ 0 h 32"/>
                <a:gd name="T12" fmla="*/ 17 w 32"/>
                <a:gd name="T13" fmla="*/ 0 h 32"/>
                <a:gd name="T14" fmla="*/ 32 w 32"/>
                <a:gd name="T15" fmla="*/ 16 h 32"/>
                <a:gd name="T16" fmla="*/ 32 w 32"/>
                <a:gd name="T17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2">
                  <a:moveTo>
                    <a:pt x="32" y="17"/>
                  </a:moveTo>
                  <a:cubicBezTo>
                    <a:pt x="32" y="25"/>
                    <a:pt x="25" y="32"/>
                    <a:pt x="17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5" y="0"/>
                    <a:pt x="32" y="7"/>
                    <a:pt x="32" y="16"/>
                  </a:cubicBezTo>
                  <a:lnTo>
                    <a:pt x="32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22" name="Freeform 64"/>
            <p:cNvSpPr>
              <a:spLocks/>
            </p:cNvSpPr>
            <p:nvPr/>
          </p:nvSpPr>
          <p:spPr bwMode="gray">
            <a:xfrm>
              <a:off x="2268" y="2263"/>
              <a:ext cx="76" cy="75"/>
            </a:xfrm>
            <a:custGeom>
              <a:avLst/>
              <a:gdLst>
                <a:gd name="T0" fmla="*/ 32 w 32"/>
                <a:gd name="T1" fmla="*/ 17 h 32"/>
                <a:gd name="T2" fmla="*/ 17 w 32"/>
                <a:gd name="T3" fmla="*/ 32 h 32"/>
                <a:gd name="T4" fmla="*/ 16 w 32"/>
                <a:gd name="T5" fmla="*/ 32 h 32"/>
                <a:gd name="T6" fmla="*/ 0 w 32"/>
                <a:gd name="T7" fmla="*/ 17 h 32"/>
                <a:gd name="T8" fmla="*/ 0 w 32"/>
                <a:gd name="T9" fmla="*/ 16 h 32"/>
                <a:gd name="T10" fmla="*/ 16 w 32"/>
                <a:gd name="T11" fmla="*/ 0 h 32"/>
                <a:gd name="T12" fmla="*/ 17 w 32"/>
                <a:gd name="T13" fmla="*/ 0 h 32"/>
                <a:gd name="T14" fmla="*/ 32 w 32"/>
                <a:gd name="T15" fmla="*/ 16 h 32"/>
                <a:gd name="T16" fmla="*/ 32 w 32"/>
                <a:gd name="T17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2">
                  <a:moveTo>
                    <a:pt x="32" y="17"/>
                  </a:moveTo>
                  <a:cubicBezTo>
                    <a:pt x="32" y="25"/>
                    <a:pt x="25" y="32"/>
                    <a:pt x="17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25"/>
                    <a:pt x="0" y="1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5" y="0"/>
                    <a:pt x="32" y="7"/>
                    <a:pt x="32" y="16"/>
                  </a:cubicBezTo>
                  <a:lnTo>
                    <a:pt x="32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23" name="Freeform 65"/>
            <p:cNvSpPr>
              <a:spLocks/>
            </p:cNvSpPr>
            <p:nvPr/>
          </p:nvSpPr>
          <p:spPr bwMode="gray">
            <a:xfrm>
              <a:off x="2381" y="1885"/>
              <a:ext cx="596" cy="38"/>
            </a:xfrm>
            <a:custGeom>
              <a:avLst/>
              <a:gdLst>
                <a:gd name="T0" fmla="*/ 252 w 252"/>
                <a:gd name="T1" fmla="*/ 8 h 16"/>
                <a:gd name="T2" fmla="*/ 244 w 252"/>
                <a:gd name="T3" fmla="*/ 16 h 16"/>
                <a:gd name="T4" fmla="*/ 8 w 252"/>
                <a:gd name="T5" fmla="*/ 16 h 16"/>
                <a:gd name="T6" fmla="*/ 0 w 252"/>
                <a:gd name="T7" fmla="*/ 8 h 16"/>
                <a:gd name="T8" fmla="*/ 0 w 252"/>
                <a:gd name="T9" fmla="*/ 8 h 16"/>
                <a:gd name="T10" fmla="*/ 8 w 252"/>
                <a:gd name="T11" fmla="*/ 0 h 16"/>
                <a:gd name="T12" fmla="*/ 244 w 252"/>
                <a:gd name="T13" fmla="*/ 0 h 16"/>
                <a:gd name="T14" fmla="*/ 252 w 252"/>
                <a:gd name="T15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2" h="16">
                  <a:moveTo>
                    <a:pt x="252" y="8"/>
                  </a:moveTo>
                  <a:cubicBezTo>
                    <a:pt x="252" y="12"/>
                    <a:pt x="248" y="16"/>
                    <a:pt x="244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4" y="16"/>
                    <a:pt x="0" y="12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48" y="0"/>
                    <a:pt x="252" y="4"/>
                    <a:pt x="252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24" name="Freeform 66"/>
            <p:cNvSpPr>
              <a:spLocks/>
            </p:cNvSpPr>
            <p:nvPr/>
          </p:nvSpPr>
          <p:spPr bwMode="gray">
            <a:xfrm>
              <a:off x="2381" y="2017"/>
              <a:ext cx="596" cy="38"/>
            </a:xfrm>
            <a:custGeom>
              <a:avLst/>
              <a:gdLst>
                <a:gd name="T0" fmla="*/ 252 w 252"/>
                <a:gd name="T1" fmla="*/ 8 h 16"/>
                <a:gd name="T2" fmla="*/ 244 w 252"/>
                <a:gd name="T3" fmla="*/ 16 h 16"/>
                <a:gd name="T4" fmla="*/ 8 w 252"/>
                <a:gd name="T5" fmla="*/ 16 h 16"/>
                <a:gd name="T6" fmla="*/ 0 w 252"/>
                <a:gd name="T7" fmla="*/ 8 h 16"/>
                <a:gd name="T8" fmla="*/ 0 w 252"/>
                <a:gd name="T9" fmla="*/ 8 h 16"/>
                <a:gd name="T10" fmla="*/ 8 w 252"/>
                <a:gd name="T11" fmla="*/ 0 h 16"/>
                <a:gd name="T12" fmla="*/ 244 w 252"/>
                <a:gd name="T13" fmla="*/ 0 h 16"/>
                <a:gd name="T14" fmla="*/ 252 w 252"/>
                <a:gd name="T15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2" h="16">
                  <a:moveTo>
                    <a:pt x="252" y="8"/>
                  </a:moveTo>
                  <a:cubicBezTo>
                    <a:pt x="252" y="12"/>
                    <a:pt x="248" y="16"/>
                    <a:pt x="244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4" y="16"/>
                    <a:pt x="0" y="12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48" y="0"/>
                    <a:pt x="252" y="4"/>
                    <a:pt x="252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25" name="Freeform 67"/>
            <p:cNvSpPr>
              <a:spLocks/>
            </p:cNvSpPr>
            <p:nvPr/>
          </p:nvSpPr>
          <p:spPr bwMode="gray">
            <a:xfrm>
              <a:off x="2381" y="2149"/>
              <a:ext cx="596" cy="38"/>
            </a:xfrm>
            <a:custGeom>
              <a:avLst/>
              <a:gdLst>
                <a:gd name="T0" fmla="*/ 252 w 252"/>
                <a:gd name="T1" fmla="*/ 8 h 16"/>
                <a:gd name="T2" fmla="*/ 244 w 252"/>
                <a:gd name="T3" fmla="*/ 16 h 16"/>
                <a:gd name="T4" fmla="*/ 8 w 252"/>
                <a:gd name="T5" fmla="*/ 16 h 16"/>
                <a:gd name="T6" fmla="*/ 0 w 252"/>
                <a:gd name="T7" fmla="*/ 8 h 16"/>
                <a:gd name="T8" fmla="*/ 0 w 252"/>
                <a:gd name="T9" fmla="*/ 8 h 16"/>
                <a:gd name="T10" fmla="*/ 8 w 252"/>
                <a:gd name="T11" fmla="*/ 0 h 16"/>
                <a:gd name="T12" fmla="*/ 244 w 252"/>
                <a:gd name="T13" fmla="*/ 0 h 16"/>
                <a:gd name="T14" fmla="*/ 252 w 252"/>
                <a:gd name="T15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2" h="16">
                  <a:moveTo>
                    <a:pt x="252" y="8"/>
                  </a:moveTo>
                  <a:cubicBezTo>
                    <a:pt x="252" y="12"/>
                    <a:pt x="248" y="16"/>
                    <a:pt x="244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4" y="16"/>
                    <a:pt x="0" y="12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48" y="0"/>
                    <a:pt x="252" y="4"/>
                    <a:pt x="252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26" name="Freeform 68"/>
            <p:cNvSpPr>
              <a:spLocks/>
            </p:cNvSpPr>
            <p:nvPr/>
          </p:nvSpPr>
          <p:spPr bwMode="gray">
            <a:xfrm>
              <a:off x="2381" y="2282"/>
              <a:ext cx="596" cy="37"/>
            </a:xfrm>
            <a:custGeom>
              <a:avLst/>
              <a:gdLst>
                <a:gd name="T0" fmla="*/ 252 w 252"/>
                <a:gd name="T1" fmla="*/ 8 h 16"/>
                <a:gd name="T2" fmla="*/ 244 w 252"/>
                <a:gd name="T3" fmla="*/ 16 h 16"/>
                <a:gd name="T4" fmla="*/ 8 w 252"/>
                <a:gd name="T5" fmla="*/ 16 h 16"/>
                <a:gd name="T6" fmla="*/ 0 w 252"/>
                <a:gd name="T7" fmla="*/ 8 h 16"/>
                <a:gd name="T8" fmla="*/ 0 w 252"/>
                <a:gd name="T9" fmla="*/ 8 h 16"/>
                <a:gd name="T10" fmla="*/ 8 w 252"/>
                <a:gd name="T11" fmla="*/ 0 h 16"/>
                <a:gd name="T12" fmla="*/ 244 w 252"/>
                <a:gd name="T13" fmla="*/ 0 h 16"/>
                <a:gd name="T14" fmla="*/ 252 w 252"/>
                <a:gd name="T15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2" h="16">
                  <a:moveTo>
                    <a:pt x="252" y="8"/>
                  </a:moveTo>
                  <a:cubicBezTo>
                    <a:pt x="252" y="12"/>
                    <a:pt x="248" y="16"/>
                    <a:pt x="244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4" y="16"/>
                    <a:pt x="0" y="12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48" y="0"/>
                    <a:pt x="252" y="4"/>
                    <a:pt x="252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27" name="Freeform 69"/>
            <p:cNvSpPr>
              <a:spLocks/>
            </p:cNvSpPr>
            <p:nvPr/>
          </p:nvSpPr>
          <p:spPr bwMode="gray">
            <a:xfrm>
              <a:off x="2070" y="1356"/>
              <a:ext cx="1616" cy="113"/>
            </a:xfrm>
            <a:custGeom>
              <a:avLst/>
              <a:gdLst>
                <a:gd name="T0" fmla="*/ 684 w 684"/>
                <a:gd name="T1" fmla="*/ 24 h 48"/>
                <a:gd name="T2" fmla="*/ 662 w 684"/>
                <a:gd name="T3" fmla="*/ 48 h 48"/>
                <a:gd name="T4" fmla="*/ 22 w 684"/>
                <a:gd name="T5" fmla="*/ 48 h 48"/>
                <a:gd name="T6" fmla="*/ 0 w 684"/>
                <a:gd name="T7" fmla="*/ 24 h 48"/>
                <a:gd name="T8" fmla="*/ 0 w 684"/>
                <a:gd name="T9" fmla="*/ 24 h 48"/>
                <a:gd name="T10" fmla="*/ 22 w 684"/>
                <a:gd name="T11" fmla="*/ 0 h 48"/>
                <a:gd name="T12" fmla="*/ 662 w 684"/>
                <a:gd name="T13" fmla="*/ 0 h 48"/>
                <a:gd name="T14" fmla="*/ 684 w 684"/>
                <a:gd name="T15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84" h="48">
                  <a:moveTo>
                    <a:pt x="684" y="24"/>
                  </a:moveTo>
                  <a:cubicBezTo>
                    <a:pt x="684" y="37"/>
                    <a:pt x="674" y="48"/>
                    <a:pt x="662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10" y="48"/>
                    <a:pt x="0" y="37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0" y="0"/>
                    <a:pt x="22" y="0"/>
                  </a:cubicBezTo>
                  <a:cubicBezTo>
                    <a:pt x="662" y="0"/>
                    <a:pt x="662" y="0"/>
                    <a:pt x="662" y="0"/>
                  </a:cubicBezTo>
                  <a:cubicBezTo>
                    <a:pt x="674" y="0"/>
                    <a:pt x="684" y="11"/>
                    <a:pt x="684" y="2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28" name="Freeform 70"/>
            <p:cNvSpPr>
              <a:spLocks/>
            </p:cNvSpPr>
            <p:nvPr/>
          </p:nvSpPr>
          <p:spPr bwMode="gray">
            <a:xfrm>
              <a:off x="2070" y="2508"/>
              <a:ext cx="1616" cy="114"/>
            </a:xfrm>
            <a:custGeom>
              <a:avLst/>
              <a:gdLst>
                <a:gd name="T0" fmla="*/ 684 w 684"/>
                <a:gd name="T1" fmla="*/ 24 h 48"/>
                <a:gd name="T2" fmla="*/ 662 w 684"/>
                <a:gd name="T3" fmla="*/ 48 h 48"/>
                <a:gd name="T4" fmla="*/ 22 w 684"/>
                <a:gd name="T5" fmla="*/ 48 h 48"/>
                <a:gd name="T6" fmla="*/ 0 w 684"/>
                <a:gd name="T7" fmla="*/ 24 h 48"/>
                <a:gd name="T8" fmla="*/ 0 w 684"/>
                <a:gd name="T9" fmla="*/ 24 h 48"/>
                <a:gd name="T10" fmla="*/ 22 w 684"/>
                <a:gd name="T11" fmla="*/ 0 h 48"/>
                <a:gd name="T12" fmla="*/ 662 w 684"/>
                <a:gd name="T13" fmla="*/ 0 h 48"/>
                <a:gd name="T14" fmla="*/ 684 w 684"/>
                <a:gd name="T15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84" h="48">
                  <a:moveTo>
                    <a:pt x="684" y="24"/>
                  </a:moveTo>
                  <a:cubicBezTo>
                    <a:pt x="684" y="37"/>
                    <a:pt x="674" y="48"/>
                    <a:pt x="662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10" y="48"/>
                    <a:pt x="0" y="37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0" y="0"/>
                    <a:pt x="22" y="0"/>
                  </a:cubicBezTo>
                  <a:cubicBezTo>
                    <a:pt x="662" y="0"/>
                    <a:pt x="662" y="0"/>
                    <a:pt x="662" y="0"/>
                  </a:cubicBezTo>
                  <a:cubicBezTo>
                    <a:pt x="674" y="0"/>
                    <a:pt x="684" y="11"/>
                    <a:pt x="684" y="2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29" name="Freeform 71"/>
            <p:cNvSpPr>
              <a:spLocks/>
            </p:cNvSpPr>
            <p:nvPr/>
          </p:nvSpPr>
          <p:spPr bwMode="gray">
            <a:xfrm>
              <a:off x="2816" y="1223"/>
              <a:ext cx="123" cy="218"/>
            </a:xfrm>
            <a:custGeom>
              <a:avLst/>
              <a:gdLst>
                <a:gd name="T0" fmla="*/ 52 w 52"/>
                <a:gd name="T1" fmla="*/ 26 h 92"/>
                <a:gd name="T2" fmla="*/ 26 w 52"/>
                <a:gd name="T3" fmla="*/ 0 h 92"/>
                <a:gd name="T4" fmla="*/ 26 w 52"/>
                <a:gd name="T5" fmla="*/ 0 h 92"/>
                <a:gd name="T6" fmla="*/ 0 w 52"/>
                <a:gd name="T7" fmla="*/ 26 h 92"/>
                <a:gd name="T8" fmla="*/ 0 w 52"/>
                <a:gd name="T9" fmla="*/ 66 h 92"/>
                <a:gd name="T10" fmla="*/ 26 w 52"/>
                <a:gd name="T11" fmla="*/ 92 h 92"/>
                <a:gd name="T12" fmla="*/ 26 w 52"/>
                <a:gd name="T13" fmla="*/ 92 h 92"/>
                <a:gd name="T14" fmla="*/ 52 w 52"/>
                <a:gd name="T15" fmla="*/ 66 h 92"/>
                <a:gd name="T16" fmla="*/ 52 w 52"/>
                <a:gd name="T17" fmla="*/ 2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92">
                  <a:moveTo>
                    <a:pt x="52" y="26"/>
                  </a:moveTo>
                  <a:cubicBezTo>
                    <a:pt x="52" y="12"/>
                    <a:pt x="40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2" y="0"/>
                    <a:pt x="0" y="12"/>
                    <a:pt x="0" y="2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80"/>
                    <a:pt x="12" y="92"/>
                    <a:pt x="26" y="92"/>
                  </a:cubicBezTo>
                  <a:cubicBezTo>
                    <a:pt x="26" y="92"/>
                    <a:pt x="26" y="92"/>
                    <a:pt x="26" y="92"/>
                  </a:cubicBezTo>
                  <a:cubicBezTo>
                    <a:pt x="40" y="92"/>
                    <a:pt x="52" y="80"/>
                    <a:pt x="52" y="66"/>
                  </a:cubicBezTo>
                  <a:lnTo>
                    <a:pt x="52" y="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30" name="Freeform 72"/>
            <p:cNvSpPr>
              <a:spLocks/>
            </p:cNvSpPr>
            <p:nvPr/>
          </p:nvSpPr>
          <p:spPr bwMode="gray">
            <a:xfrm>
              <a:off x="2807" y="2506"/>
              <a:ext cx="425" cy="600"/>
            </a:xfrm>
            <a:custGeom>
              <a:avLst/>
              <a:gdLst>
                <a:gd name="T0" fmla="*/ 173 w 180"/>
                <a:gd name="T1" fmla="*/ 217 h 254"/>
                <a:gd name="T2" fmla="*/ 167 w 180"/>
                <a:gd name="T3" fmla="*/ 246 h 254"/>
                <a:gd name="T4" fmla="*/ 165 w 180"/>
                <a:gd name="T5" fmla="*/ 247 h 254"/>
                <a:gd name="T6" fmla="*/ 136 w 180"/>
                <a:gd name="T7" fmla="*/ 241 h 254"/>
                <a:gd name="T8" fmla="*/ 7 w 180"/>
                <a:gd name="T9" fmla="*/ 37 h 254"/>
                <a:gd name="T10" fmla="*/ 13 w 180"/>
                <a:gd name="T11" fmla="*/ 8 h 254"/>
                <a:gd name="T12" fmla="*/ 15 w 180"/>
                <a:gd name="T13" fmla="*/ 7 h 254"/>
                <a:gd name="T14" fmla="*/ 44 w 180"/>
                <a:gd name="T15" fmla="*/ 13 h 254"/>
                <a:gd name="T16" fmla="*/ 173 w 180"/>
                <a:gd name="T17" fmla="*/ 21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0" h="254">
                  <a:moveTo>
                    <a:pt x="173" y="217"/>
                  </a:moveTo>
                  <a:cubicBezTo>
                    <a:pt x="180" y="227"/>
                    <a:pt x="177" y="240"/>
                    <a:pt x="167" y="246"/>
                  </a:cubicBezTo>
                  <a:cubicBezTo>
                    <a:pt x="165" y="247"/>
                    <a:pt x="165" y="247"/>
                    <a:pt x="165" y="247"/>
                  </a:cubicBezTo>
                  <a:cubicBezTo>
                    <a:pt x="155" y="254"/>
                    <a:pt x="142" y="251"/>
                    <a:pt x="136" y="241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0" y="27"/>
                    <a:pt x="3" y="14"/>
                    <a:pt x="13" y="8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25" y="0"/>
                    <a:pt x="38" y="3"/>
                    <a:pt x="44" y="13"/>
                  </a:cubicBezTo>
                  <a:lnTo>
                    <a:pt x="173" y="21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  <p:sp>
          <p:nvSpPr>
            <p:cNvPr id="31" name="Freeform 73"/>
            <p:cNvSpPr>
              <a:spLocks/>
            </p:cNvSpPr>
            <p:nvPr/>
          </p:nvSpPr>
          <p:spPr bwMode="gray">
            <a:xfrm>
              <a:off x="2504" y="2506"/>
              <a:ext cx="426" cy="600"/>
            </a:xfrm>
            <a:custGeom>
              <a:avLst/>
              <a:gdLst>
                <a:gd name="T0" fmla="*/ 7 w 180"/>
                <a:gd name="T1" fmla="*/ 217 h 254"/>
                <a:gd name="T2" fmla="*/ 13 w 180"/>
                <a:gd name="T3" fmla="*/ 246 h 254"/>
                <a:gd name="T4" fmla="*/ 15 w 180"/>
                <a:gd name="T5" fmla="*/ 247 h 254"/>
                <a:gd name="T6" fmla="*/ 44 w 180"/>
                <a:gd name="T7" fmla="*/ 241 h 254"/>
                <a:gd name="T8" fmla="*/ 173 w 180"/>
                <a:gd name="T9" fmla="*/ 37 h 254"/>
                <a:gd name="T10" fmla="*/ 167 w 180"/>
                <a:gd name="T11" fmla="*/ 8 h 254"/>
                <a:gd name="T12" fmla="*/ 165 w 180"/>
                <a:gd name="T13" fmla="*/ 7 h 254"/>
                <a:gd name="T14" fmla="*/ 136 w 180"/>
                <a:gd name="T15" fmla="*/ 13 h 254"/>
                <a:gd name="T16" fmla="*/ 7 w 180"/>
                <a:gd name="T17" fmla="*/ 21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0" h="254">
                  <a:moveTo>
                    <a:pt x="7" y="217"/>
                  </a:moveTo>
                  <a:cubicBezTo>
                    <a:pt x="0" y="227"/>
                    <a:pt x="3" y="240"/>
                    <a:pt x="13" y="246"/>
                  </a:cubicBezTo>
                  <a:cubicBezTo>
                    <a:pt x="15" y="247"/>
                    <a:pt x="15" y="247"/>
                    <a:pt x="15" y="247"/>
                  </a:cubicBezTo>
                  <a:cubicBezTo>
                    <a:pt x="25" y="254"/>
                    <a:pt x="38" y="251"/>
                    <a:pt x="44" y="241"/>
                  </a:cubicBezTo>
                  <a:cubicBezTo>
                    <a:pt x="173" y="37"/>
                    <a:pt x="173" y="37"/>
                    <a:pt x="173" y="37"/>
                  </a:cubicBezTo>
                  <a:cubicBezTo>
                    <a:pt x="180" y="27"/>
                    <a:pt x="177" y="14"/>
                    <a:pt x="167" y="8"/>
                  </a:cubicBezTo>
                  <a:cubicBezTo>
                    <a:pt x="165" y="7"/>
                    <a:pt x="165" y="7"/>
                    <a:pt x="165" y="7"/>
                  </a:cubicBezTo>
                  <a:cubicBezTo>
                    <a:pt x="155" y="0"/>
                    <a:pt x="142" y="3"/>
                    <a:pt x="136" y="13"/>
                  </a:cubicBezTo>
                  <a:lnTo>
                    <a:pt x="7" y="21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5000"/>
                </a:lnSpc>
              </a:pPr>
              <a:endParaRPr lang="en-US" sz="2400" spc="-600"/>
            </a:p>
          </p:txBody>
        </p:sp>
      </p:grpSp>
      <p:grpSp>
        <p:nvGrpSpPr>
          <p:cNvPr id="32" name="Group 52"/>
          <p:cNvGrpSpPr/>
          <p:nvPr userDrawn="1"/>
        </p:nvGrpSpPr>
        <p:grpSpPr bwMode="gray">
          <a:xfrm>
            <a:off x="8438740" y="4575539"/>
            <a:ext cx="825359" cy="1241527"/>
            <a:chOff x="-1597026" y="1676403"/>
            <a:chExt cx="1844676" cy="3517906"/>
          </a:xfrm>
        </p:grpSpPr>
        <p:sp>
          <p:nvSpPr>
            <p:cNvPr id="33" name="Freeform 8"/>
            <p:cNvSpPr>
              <a:spLocks noEditPoints="1"/>
            </p:cNvSpPr>
            <p:nvPr/>
          </p:nvSpPr>
          <p:spPr bwMode="gray">
            <a:xfrm>
              <a:off x="-1597026" y="1676403"/>
              <a:ext cx="1844676" cy="3517906"/>
            </a:xfrm>
            <a:custGeom>
              <a:avLst/>
              <a:gdLst>
                <a:gd name="T0" fmla="*/ 486 w 492"/>
                <a:gd name="T1" fmla="*/ 909 h 938"/>
                <a:gd name="T2" fmla="*/ 429 w 492"/>
                <a:gd name="T3" fmla="*/ 852 h 938"/>
                <a:gd name="T4" fmla="*/ 417 w 492"/>
                <a:gd name="T5" fmla="*/ 848 h 938"/>
                <a:gd name="T6" fmla="*/ 258 w 492"/>
                <a:gd name="T7" fmla="*/ 689 h 938"/>
                <a:gd name="T8" fmla="*/ 258 w 492"/>
                <a:gd name="T9" fmla="*/ 552 h 938"/>
                <a:gd name="T10" fmla="*/ 474 w 492"/>
                <a:gd name="T11" fmla="*/ 552 h 938"/>
                <a:gd name="T12" fmla="*/ 474 w 492"/>
                <a:gd name="T13" fmla="*/ 0 h 938"/>
                <a:gd name="T14" fmla="*/ 6 w 492"/>
                <a:gd name="T15" fmla="*/ 0 h 938"/>
                <a:gd name="T16" fmla="*/ 6 w 492"/>
                <a:gd name="T17" fmla="*/ 552 h 938"/>
                <a:gd name="T18" fmla="*/ 238 w 492"/>
                <a:gd name="T19" fmla="*/ 552 h 938"/>
                <a:gd name="T20" fmla="*/ 238 w 492"/>
                <a:gd name="T21" fmla="*/ 686 h 938"/>
                <a:gd name="T22" fmla="*/ 76 w 492"/>
                <a:gd name="T23" fmla="*/ 848 h 938"/>
                <a:gd name="T24" fmla="*/ 63 w 492"/>
                <a:gd name="T25" fmla="*/ 852 h 938"/>
                <a:gd name="T26" fmla="*/ 6 w 492"/>
                <a:gd name="T27" fmla="*/ 909 h 938"/>
                <a:gd name="T28" fmla="*/ 6 w 492"/>
                <a:gd name="T29" fmla="*/ 932 h 938"/>
                <a:gd name="T30" fmla="*/ 29 w 492"/>
                <a:gd name="T31" fmla="*/ 932 h 938"/>
                <a:gd name="T32" fmla="*/ 86 w 492"/>
                <a:gd name="T33" fmla="*/ 875 h 938"/>
                <a:gd name="T34" fmla="*/ 90 w 492"/>
                <a:gd name="T35" fmla="*/ 862 h 938"/>
                <a:gd name="T36" fmla="*/ 181 w 492"/>
                <a:gd name="T37" fmla="*/ 771 h 938"/>
                <a:gd name="T38" fmla="*/ 238 w 492"/>
                <a:gd name="T39" fmla="*/ 828 h 938"/>
                <a:gd name="T40" fmla="*/ 238 w 492"/>
                <a:gd name="T41" fmla="*/ 836 h 938"/>
                <a:gd name="T42" fmla="*/ 258 w 492"/>
                <a:gd name="T43" fmla="*/ 836 h 938"/>
                <a:gd name="T44" fmla="*/ 258 w 492"/>
                <a:gd name="T45" fmla="*/ 828 h 938"/>
                <a:gd name="T46" fmla="*/ 314 w 492"/>
                <a:gd name="T47" fmla="*/ 773 h 938"/>
                <a:gd name="T48" fmla="*/ 402 w 492"/>
                <a:gd name="T49" fmla="*/ 861 h 938"/>
                <a:gd name="T50" fmla="*/ 406 w 492"/>
                <a:gd name="T51" fmla="*/ 875 h 938"/>
                <a:gd name="T52" fmla="*/ 463 w 492"/>
                <a:gd name="T53" fmla="*/ 932 h 938"/>
                <a:gd name="T54" fmla="*/ 486 w 492"/>
                <a:gd name="T55" fmla="*/ 932 h 938"/>
                <a:gd name="T56" fmla="*/ 486 w 492"/>
                <a:gd name="T57" fmla="*/ 909 h 938"/>
                <a:gd name="T58" fmla="*/ 189 w 492"/>
                <a:gd name="T59" fmla="*/ 763 h 938"/>
                <a:gd name="T60" fmla="*/ 238 w 492"/>
                <a:gd name="T61" fmla="*/ 714 h 938"/>
                <a:gd name="T62" fmla="*/ 238 w 492"/>
                <a:gd name="T63" fmla="*/ 812 h 938"/>
                <a:gd name="T64" fmla="*/ 189 w 492"/>
                <a:gd name="T65" fmla="*/ 763 h 938"/>
                <a:gd name="T66" fmla="*/ 258 w 492"/>
                <a:gd name="T67" fmla="*/ 812 h 938"/>
                <a:gd name="T68" fmla="*/ 258 w 492"/>
                <a:gd name="T69" fmla="*/ 717 h 938"/>
                <a:gd name="T70" fmla="*/ 305 w 492"/>
                <a:gd name="T71" fmla="*/ 764 h 938"/>
                <a:gd name="T72" fmla="*/ 258 w 492"/>
                <a:gd name="T73" fmla="*/ 812 h 9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92" h="938">
                  <a:moveTo>
                    <a:pt x="486" y="909"/>
                  </a:moveTo>
                  <a:cubicBezTo>
                    <a:pt x="429" y="852"/>
                    <a:pt x="429" y="852"/>
                    <a:pt x="429" y="852"/>
                  </a:cubicBezTo>
                  <a:cubicBezTo>
                    <a:pt x="426" y="849"/>
                    <a:pt x="421" y="848"/>
                    <a:pt x="417" y="848"/>
                  </a:cubicBezTo>
                  <a:cubicBezTo>
                    <a:pt x="258" y="689"/>
                    <a:pt x="258" y="689"/>
                    <a:pt x="258" y="689"/>
                  </a:cubicBezTo>
                  <a:cubicBezTo>
                    <a:pt x="258" y="552"/>
                    <a:pt x="258" y="552"/>
                    <a:pt x="258" y="552"/>
                  </a:cubicBezTo>
                  <a:cubicBezTo>
                    <a:pt x="474" y="552"/>
                    <a:pt x="474" y="552"/>
                    <a:pt x="474" y="552"/>
                  </a:cubicBezTo>
                  <a:cubicBezTo>
                    <a:pt x="474" y="0"/>
                    <a:pt x="474" y="0"/>
                    <a:pt x="474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552"/>
                    <a:pt x="6" y="552"/>
                    <a:pt x="6" y="552"/>
                  </a:cubicBezTo>
                  <a:cubicBezTo>
                    <a:pt x="238" y="552"/>
                    <a:pt x="238" y="552"/>
                    <a:pt x="238" y="552"/>
                  </a:cubicBezTo>
                  <a:cubicBezTo>
                    <a:pt x="238" y="686"/>
                    <a:pt x="238" y="686"/>
                    <a:pt x="238" y="686"/>
                  </a:cubicBezTo>
                  <a:cubicBezTo>
                    <a:pt x="76" y="848"/>
                    <a:pt x="76" y="848"/>
                    <a:pt x="76" y="848"/>
                  </a:cubicBezTo>
                  <a:cubicBezTo>
                    <a:pt x="71" y="847"/>
                    <a:pt x="67" y="849"/>
                    <a:pt x="63" y="852"/>
                  </a:cubicBezTo>
                  <a:cubicBezTo>
                    <a:pt x="6" y="909"/>
                    <a:pt x="6" y="909"/>
                    <a:pt x="6" y="909"/>
                  </a:cubicBezTo>
                  <a:cubicBezTo>
                    <a:pt x="0" y="915"/>
                    <a:pt x="0" y="925"/>
                    <a:pt x="6" y="932"/>
                  </a:cubicBezTo>
                  <a:cubicBezTo>
                    <a:pt x="13" y="938"/>
                    <a:pt x="23" y="938"/>
                    <a:pt x="29" y="932"/>
                  </a:cubicBezTo>
                  <a:cubicBezTo>
                    <a:pt x="86" y="875"/>
                    <a:pt x="86" y="875"/>
                    <a:pt x="86" y="875"/>
                  </a:cubicBezTo>
                  <a:cubicBezTo>
                    <a:pt x="89" y="871"/>
                    <a:pt x="91" y="867"/>
                    <a:pt x="90" y="862"/>
                  </a:cubicBezTo>
                  <a:cubicBezTo>
                    <a:pt x="181" y="771"/>
                    <a:pt x="181" y="771"/>
                    <a:pt x="181" y="771"/>
                  </a:cubicBezTo>
                  <a:cubicBezTo>
                    <a:pt x="238" y="828"/>
                    <a:pt x="238" y="828"/>
                    <a:pt x="238" y="828"/>
                  </a:cubicBezTo>
                  <a:cubicBezTo>
                    <a:pt x="238" y="836"/>
                    <a:pt x="238" y="836"/>
                    <a:pt x="238" y="836"/>
                  </a:cubicBezTo>
                  <a:cubicBezTo>
                    <a:pt x="258" y="836"/>
                    <a:pt x="258" y="836"/>
                    <a:pt x="258" y="836"/>
                  </a:cubicBezTo>
                  <a:cubicBezTo>
                    <a:pt x="258" y="828"/>
                    <a:pt x="258" y="828"/>
                    <a:pt x="258" y="828"/>
                  </a:cubicBezTo>
                  <a:cubicBezTo>
                    <a:pt x="314" y="773"/>
                    <a:pt x="314" y="773"/>
                    <a:pt x="314" y="773"/>
                  </a:cubicBezTo>
                  <a:cubicBezTo>
                    <a:pt x="402" y="861"/>
                    <a:pt x="402" y="861"/>
                    <a:pt x="402" y="861"/>
                  </a:cubicBezTo>
                  <a:cubicBezTo>
                    <a:pt x="401" y="866"/>
                    <a:pt x="403" y="871"/>
                    <a:pt x="406" y="875"/>
                  </a:cubicBezTo>
                  <a:cubicBezTo>
                    <a:pt x="463" y="932"/>
                    <a:pt x="463" y="932"/>
                    <a:pt x="463" y="932"/>
                  </a:cubicBezTo>
                  <a:cubicBezTo>
                    <a:pt x="469" y="938"/>
                    <a:pt x="479" y="938"/>
                    <a:pt x="486" y="932"/>
                  </a:cubicBezTo>
                  <a:cubicBezTo>
                    <a:pt x="492" y="925"/>
                    <a:pt x="492" y="915"/>
                    <a:pt x="486" y="909"/>
                  </a:cubicBezTo>
                  <a:close/>
                  <a:moveTo>
                    <a:pt x="189" y="763"/>
                  </a:moveTo>
                  <a:cubicBezTo>
                    <a:pt x="238" y="714"/>
                    <a:pt x="238" y="714"/>
                    <a:pt x="238" y="714"/>
                  </a:cubicBezTo>
                  <a:cubicBezTo>
                    <a:pt x="238" y="812"/>
                    <a:pt x="238" y="812"/>
                    <a:pt x="238" y="812"/>
                  </a:cubicBezTo>
                  <a:lnTo>
                    <a:pt x="189" y="763"/>
                  </a:lnTo>
                  <a:close/>
                  <a:moveTo>
                    <a:pt x="258" y="812"/>
                  </a:moveTo>
                  <a:cubicBezTo>
                    <a:pt x="258" y="717"/>
                    <a:pt x="258" y="717"/>
                    <a:pt x="258" y="717"/>
                  </a:cubicBezTo>
                  <a:cubicBezTo>
                    <a:pt x="305" y="764"/>
                    <a:pt x="305" y="764"/>
                    <a:pt x="305" y="764"/>
                  </a:cubicBezTo>
                  <a:lnTo>
                    <a:pt x="258" y="812"/>
                  </a:lnTo>
                  <a:close/>
                </a:path>
              </a:pathLst>
            </a:custGeom>
            <a:solidFill>
              <a:srgbClr val="19478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4" name="Rectangle 9"/>
            <p:cNvSpPr>
              <a:spLocks noChangeArrowheads="1"/>
            </p:cNvSpPr>
            <p:nvPr/>
          </p:nvSpPr>
          <p:spPr bwMode="gray">
            <a:xfrm>
              <a:off x="-1274763" y="2171700"/>
              <a:ext cx="974726" cy="603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5" name="Rectangle 10"/>
            <p:cNvSpPr>
              <a:spLocks noChangeArrowheads="1"/>
            </p:cNvSpPr>
            <p:nvPr/>
          </p:nvSpPr>
          <p:spPr bwMode="gray">
            <a:xfrm>
              <a:off x="-1274763" y="2427288"/>
              <a:ext cx="1139826" cy="746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6" name="Rectangle 11"/>
            <p:cNvSpPr>
              <a:spLocks noChangeArrowheads="1"/>
            </p:cNvSpPr>
            <p:nvPr/>
          </p:nvSpPr>
          <p:spPr bwMode="gray">
            <a:xfrm>
              <a:off x="-1260475" y="3192463"/>
              <a:ext cx="1035051" cy="746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7" name="Rectangle 12"/>
            <p:cNvSpPr>
              <a:spLocks noChangeArrowheads="1"/>
            </p:cNvSpPr>
            <p:nvPr/>
          </p:nvSpPr>
          <p:spPr bwMode="gray">
            <a:xfrm>
              <a:off x="-1274763" y="2681288"/>
              <a:ext cx="974726" cy="603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Rectangle 13"/>
            <p:cNvSpPr>
              <a:spLocks noChangeArrowheads="1"/>
            </p:cNvSpPr>
            <p:nvPr/>
          </p:nvSpPr>
          <p:spPr bwMode="gray">
            <a:xfrm>
              <a:off x="-1274763" y="2936875"/>
              <a:ext cx="1139826" cy="746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39" name="Group 59"/>
          <p:cNvGrpSpPr/>
          <p:nvPr userDrawn="1"/>
        </p:nvGrpSpPr>
        <p:grpSpPr bwMode="gray">
          <a:xfrm>
            <a:off x="10407483" y="1928746"/>
            <a:ext cx="751449" cy="813419"/>
            <a:chOff x="-323850" y="2616200"/>
            <a:chExt cx="1125538" cy="1544638"/>
          </a:xfrm>
          <a:solidFill>
            <a:srgbClr val="194780"/>
          </a:solidFill>
        </p:grpSpPr>
        <p:sp>
          <p:nvSpPr>
            <p:cNvPr id="40" name="Freeform 33"/>
            <p:cNvSpPr>
              <a:spLocks/>
            </p:cNvSpPr>
            <p:nvPr/>
          </p:nvSpPr>
          <p:spPr bwMode="gray">
            <a:xfrm>
              <a:off x="-128587" y="3024188"/>
              <a:ext cx="615950" cy="41275"/>
            </a:xfrm>
            <a:custGeom>
              <a:avLst/>
              <a:gdLst>
                <a:gd name="T0" fmla="*/ 159 w 164"/>
                <a:gd name="T1" fmla="*/ 11 h 11"/>
                <a:gd name="T2" fmla="*/ 5 w 164"/>
                <a:gd name="T3" fmla="*/ 11 h 11"/>
                <a:gd name="T4" fmla="*/ 0 w 164"/>
                <a:gd name="T5" fmla="*/ 5 h 11"/>
                <a:gd name="T6" fmla="*/ 5 w 164"/>
                <a:gd name="T7" fmla="*/ 0 h 11"/>
                <a:gd name="T8" fmla="*/ 159 w 164"/>
                <a:gd name="T9" fmla="*/ 0 h 11"/>
                <a:gd name="T10" fmla="*/ 164 w 164"/>
                <a:gd name="T11" fmla="*/ 5 h 11"/>
                <a:gd name="T12" fmla="*/ 159 w 164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4" h="11">
                  <a:moveTo>
                    <a:pt x="159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5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62" y="0"/>
                    <a:pt x="164" y="3"/>
                    <a:pt x="164" y="5"/>
                  </a:cubicBezTo>
                  <a:cubicBezTo>
                    <a:pt x="164" y="8"/>
                    <a:pt x="162" y="11"/>
                    <a:pt x="159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1" name="Freeform 34"/>
            <p:cNvSpPr>
              <a:spLocks/>
            </p:cNvSpPr>
            <p:nvPr/>
          </p:nvSpPr>
          <p:spPr bwMode="gray">
            <a:xfrm>
              <a:off x="-128587" y="3106738"/>
              <a:ext cx="736600" cy="38100"/>
            </a:xfrm>
            <a:custGeom>
              <a:avLst/>
              <a:gdLst>
                <a:gd name="T0" fmla="*/ 191 w 196"/>
                <a:gd name="T1" fmla="*/ 10 h 10"/>
                <a:gd name="T2" fmla="*/ 5 w 196"/>
                <a:gd name="T3" fmla="*/ 10 h 10"/>
                <a:gd name="T4" fmla="*/ 0 w 196"/>
                <a:gd name="T5" fmla="*/ 5 h 10"/>
                <a:gd name="T6" fmla="*/ 5 w 196"/>
                <a:gd name="T7" fmla="*/ 0 h 10"/>
                <a:gd name="T8" fmla="*/ 191 w 196"/>
                <a:gd name="T9" fmla="*/ 0 h 10"/>
                <a:gd name="T10" fmla="*/ 196 w 196"/>
                <a:gd name="T11" fmla="*/ 5 h 10"/>
                <a:gd name="T12" fmla="*/ 191 w 196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6" h="10">
                  <a:moveTo>
                    <a:pt x="191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94" y="0"/>
                    <a:pt x="196" y="2"/>
                    <a:pt x="196" y="5"/>
                  </a:cubicBezTo>
                  <a:cubicBezTo>
                    <a:pt x="196" y="8"/>
                    <a:pt x="194" y="10"/>
                    <a:pt x="19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2" name="Freeform 35"/>
            <p:cNvSpPr>
              <a:spLocks/>
            </p:cNvSpPr>
            <p:nvPr/>
          </p:nvSpPr>
          <p:spPr bwMode="gray">
            <a:xfrm>
              <a:off x="-128587" y="3189288"/>
              <a:ext cx="615950" cy="38100"/>
            </a:xfrm>
            <a:custGeom>
              <a:avLst/>
              <a:gdLst>
                <a:gd name="T0" fmla="*/ 159 w 164"/>
                <a:gd name="T1" fmla="*/ 10 h 10"/>
                <a:gd name="T2" fmla="*/ 5 w 164"/>
                <a:gd name="T3" fmla="*/ 10 h 10"/>
                <a:gd name="T4" fmla="*/ 0 w 164"/>
                <a:gd name="T5" fmla="*/ 5 h 10"/>
                <a:gd name="T6" fmla="*/ 5 w 164"/>
                <a:gd name="T7" fmla="*/ 0 h 10"/>
                <a:gd name="T8" fmla="*/ 159 w 164"/>
                <a:gd name="T9" fmla="*/ 0 h 10"/>
                <a:gd name="T10" fmla="*/ 164 w 164"/>
                <a:gd name="T11" fmla="*/ 5 h 10"/>
                <a:gd name="T12" fmla="*/ 159 w 164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4" h="10">
                  <a:moveTo>
                    <a:pt x="159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62" y="0"/>
                    <a:pt x="164" y="2"/>
                    <a:pt x="164" y="5"/>
                  </a:cubicBezTo>
                  <a:cubicBezTo>
                    <a:pt x="164" y="8"/>
                    <a:pt x="162" y="10"/>
                    <a:pt x="159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3" name="Freeform 36"/>
            <p:cNvSpPr>
              <a:spLocks/>
            </p:cNvSpPr>
            <p:nvPr/>
          </p:nvSpPr>
          <p:spPr bwMode="gray">
            <a:xfrm>
              <a:off x="-128587" y="3271838"/>
              <a:ext cx="323850" cy="38100"/>
            </a:xfrm>
            <a:custGeom>
              <a:avLst/>
              <a:gdLst>
                <a:gd name="T0" fmla="*/ 80 w 86"/>
                <a:gd name="T1" fmla="*/ 10 h 10"/>
                <a:gd name="T2" fmla="*/ 5 w 86"/>
                <a:gd name="T3" fmla="*/ 10 h 10"/>
                <a:gd name="T4" fmla="*/ 0 w 86"/>
                <a:gd name="T5" fmla="*/ 5 h 10"/>
                <a:gd name="T6" fmla="*/ 5 w 86"/>
                <a:gd name="T7" fmla="*/ 0 h 10"/>
                <a:gd name="T8" fmla="*/ 80 w 86"/>
                <a:gd name="T9" fmla="*/ 0 h 10"/>
                <a:gd name="T10" fmla="*/ 86 w 86"/>
                <a:gd name="T11" fmla="*/ 5 h 10"/>
                <a:gd name="T12" fmla="*/ 80 w 86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10">
                  <a:moveTo>
                    <a:pt x="80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3" y="0"/>
                    <a:pt x="86" y="2"/>
                    <a:pt x="86" y="5"/>
                  </a:cubicBezTo>
                  <a:cubicBezTo>
                    <a:pt x="86" y="8"/>
                    <a:pt x="83" y="10"/>
                    <a:pt x="80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Freeform 37"/>
            <p:cNvSpPr>
              <a:spLocks/>
            </p:cNvSpPr>
            <p:nvPr/>
          </p:nvSpPr>
          <p:spPr bwMode="gray">
            <a:xfrm>
              <a:off x="-128587" y="3481388"/>
              <a:ext cx="676275" cy="41275"/>
            </a:xfrm>
            <a:custGeom>
              <a:avLst/>
              <a:gdLst>
                <a:gd name="T0" fmla="*/ 175 w 180"/>
                <a:gd name="T1" fmla="*/ 11 h 11"/>
                <a:gd name="T2" fmla="*/ 5 w 180"/>
                <a:gd name="T3" fmla="*/ 11 h 11"/>
                <a:gd name="T4" fmla="*/ 0 w 180"/>
                <a:gd name="T5" fmla="*/ 6 h 11"/>
                <a:gd name="T6" fmla="*/ 5 w 180"/>
                <a:gd name="T7" fmla="*/ 0 h 11"/>
                <a:gd name="T8" fmla="*/ 175 w 180"/>
                <a:gd name="T9" fmla="*/ 0 h 11"/>
                <a:gd name="T10" fmla="*/ 180 w 180"/>
                <a:gd name="T11" fmla="*/ 6 h 11"/>
                <a:gd name="T12" fmla="*/ 175 w 180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" h="11">
                  <a:moveTo>
                    <a:pt x="175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8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175" y="0"/>
                    <a:pt x="175" y="0"/>
                    <a:pt x="175" y="0"/>
                  </a:cubicBezTo>
                  <a:cubicBezTo>
                    <a:pt x="178" y="0"/>
                    <a:pt x="180" y="3"/>
                    <a:pt x="180" y="6"/>
                  </a:cubicBezTo>
                  <a:cubicBezTo>
                    <a:pt x="180" y="8"/>
                    <a:pt x="178" y="11"/>
                    <a:pt x="17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5" name="Freeform 38"/>
            <p:cNvSpPr>
              <a:spLocks/>
            </p:cNvSpPr>
            <p:nvPr/>
          </p:nvSpPr>
          <p:spPr bwMode="gray">
            <a:xfrm>
              <a:off x="-128587" y="3563938"/>
              <a:ext cx="736600" cy="38100"/>
            </a:xfrm>
            <a:custGeom>
              <a:avLst/>
              <a:gdLst>
                <a:gd name="T0" fmla="*/ 191 w 196"/>
                <a:gd name="T1" fmla="*/ 10 h 10"/>
                <a:gd name="T2" fmla="*/ 5 w 196"/>
                <a:gd name="T3" fmla="*/ 10 h 10"/>
                <a:gd name="T4" fmla="*/ 0 w 196"/>
                <a:gd name="T5" fmla="*/ 5 h 10"/>
                <a:gd name="T6" fmla="*/ 5 w 196"/>
                <a:gd name="T7" fmla="*/ 0 h 10"/>
                <a:gd name="T8" fmla="*/ 191 w 196"/>
                <a:gd name="T9" fmla="*/ 0 h 10"/>
                <a:gd name="T10" fmla="*/ 196 w 196"/>
                <a:gd name="T11" fmla="*/ 5 h 10"/>
                <a:gd name="T12" fmla="*/ 191 w 196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6" h="10">
                  <a:moveTo>
                    <a:pt x="191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94" y="0"/>
                    <a:pt x="196" y="3"/>
                    <a:pt x="196" y="5"/>
                  </a:cubicBezTo>
                  <a:cubicBezTo>
                    <a:pt x="196" y="8"/>
                    <a:pt x="194" y="10"/>
                    <a:pt x="19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Freeform 39"/>
            <p:cNvSpPr>
              <a:spLocks/>
            </p:cNvSpPr>
            <p:nvPr/>
          </p:nvSpPr>
          <p:spPr bwMode="gray">
            <a:xfrm>
              <a:off x="-128587" y="3646488"/>
              <a:ext cx="701675" cy="38100"/>
            </a:xfrm>
            <a:custGeom>
              <a:avLst/>
              <a:gdLst>
                <a:gd name="T0" fmla="*/ 182 w 187"/>
                <a:gd name="T1" fmla="*/ 10 h 10"/>
                <a:gd name="T2" fmla="*/ 5 w 187"/>
                <a:gd name="T3" fmla="*/ 10 h 10"/>
                <a:gd name="T4" fmla="*/ 0 w 187"/>
                <a:gd name="T5" fmla="*/ 5 h 10"/>
                <a:gd name="T6" fmla="*/ 5 w 187"/>
                <a:gd name="T7" fmla="*/ 0 h 10"/>
                <a:gd name="T8" fmla="*/ 182 w 187"/>
                <a:gd name="T9" fmla="*/ 0 h 10"/>
                <a:gd name="T10" fmla="*/ 187 w 187"/>
                <a:gd name="T11" fmla="*/ 5 h 10"/>
                <a:gd name="T12" fmla="*/ 182 w 187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0">
                  <a:moveTo>
                    <a:pt x="182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82" y="0"/>
                    <a:pt x="182" y="0"/>
                    <a:pt x="182" y="0"/>
                  </a:cubicBezTo>
                  <a:cubicBezTo>
                    <a:pt x="185" y="0"/>
                    <a:pt x="187" y="2"/>
                    <a:pt x="187" y="5"/>
                  </a:cubicBezTo>
                  <a:cubicBezTo>
                    <a:pt x="187" y="8"/>
                    <a:pt x="185" y="10"/>
                    <a:pt x="18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Freeform 40"/>
            <p:cNvSpPr>
              <a:spLocks/>
            </p:cNvSpPr>
            <p:nvPr/>
          </p:nvSpPr>
          <p:spPr bwMode="gray">
            <a:xfrm>
              <a:off x="-128587" y="3729038"/>
              <a:ext cx="649288" cy="38100"/>
            </a:xfrm>
            <a:custGeom>
              <a:avLst/>
              <a:gdLst>
                <a:gd name="T0" fmla="*/ 168 w 173"/>
                <a:gd name="T1" fmla="*/ 10 h 10"/>
                <a:gd name="T2" fmla="*/ 5 w 173"/>
                <a:gd name="T3" fmla="*/ 10 h 10"/>
                <a:gd name="T4" fmla="*/ 0 w 173"/>
                <a:gd name="T5" fmla="*/ 5 h 10"/>
                <a:gd name="T6" fmla="*/ 5 w 173"/>
                <a:gd name="T7" fmla="*/ 0 h 10"/>
                <a:gd name="T8" fmla="*/ 168 w 173"/>
                <a:gd name="T9" fmla="*/ 0 h 10"/>
                <a:gd name="T10" fmla="*/ 173 w 173"/>
                <a:gd name="T11" fmla="*/ 5 h 10"/>
                <a:gd name="T12" fmla="*/ 168 w 173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3" h="10">
                  <a:moveTo>
                    <a:pt x="168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70" y="0"/>
                    <a:pt x="173" y="2"/>
                    <a:pt x="173" y="5"/>
                  </a:cubicBezTo>
                  <a:cubicBezTo>
                    <a:pt x="173" y="8"/>
                    <a:pt x="170" y="10"/>
                    <a:pt x="168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9" name="Freeform 41"/>
            <p:cNvSpPr>
              <a:spLocks/>
            </p:cNvSpPr>
            <p:nvPr/>
          </p:nvSpPr>
          <p:spPr bwMode="gray">
            <a:xfrm>
              <a:off x="-128587" y="3816350"/>
              <a:ext cx="701675" cy="36513"/>
            </a:xfrm>
            <a:custGeom>
              <a:avLst/>
              <a:gdLst>
                <a:gd name="T0" fmla="*/ 182 w 187"/>
                <a:gd name="T1" fmla="*/ 10 h 10"/>
                <a:gd name="T2" fmla="*/ 5 w 187"/>
                <a:gd name="T3" fmla="*/ 10 h 10"/>
                <a:gd name="T4" fmla="*/ 0 w 187"/>
                <a:gd name="T5" fmla="*/ 5 h 10"/>
                <a:gd name="T6" fmla="*/ 5 w 187"/>
                <a:gd name="T7" fmla="*/ 0 h 10"/>
                <a:gd name="T8" fmla="*/ 182 w 187"/>
                <a:gd name="T9" fmla="*/ 0 h 10"/>
                <a:gd name="T10" fmla="*/ 187 w 187"/>
                <a:gd name="T11" fmla="*/ 5 h 10"/>
                <a:gd name="T12" fmla="*/ 182 w 187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0">
                  <a:moveTo>
                    <a:pt x="182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82" y="0"/>
                    <a:pt x="182" y="0"/>
                    <a:pt x="182" y="0"/>
                  </a:cubicBezTo>
                  <a:cubicBezTo>
                    <a:pt x="185" y="0"/>
                    <a:pt x="187" y="2"/>
                    <a:pt x="187" y="5"/>
                  </a:cubicBezTo>
                  <a:cubicBezTo>
                    <a:pt x="187" y="8"/>
                    <a:pt x="185" y="10"/>
                    <a:pt x="18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0" name="Freeform 42"/>
            <p:cNvSpPr>
              <a:spLocks/>
            </p:cNvSpPr>
            <p:nvPr/>
          </p:nvSpPr>
          <p:spPr bwMode="gray">
            <a:xfrm>
              <a:off x="-128587" y="3898900"/>
              <a:ext cx="484188" cy="36513"/>
            </a:xfrm>
            <a:custGeom>
              <a:avLst/>
              <a:gdLst>
                <a:gd name="T0" fmla="*/ 124 w 129"/>
                <a:gd name="T1" fmla="*/ 10 h 10"/>
                <a:gd name="T2" fmla="*/ 5 w 129"/>
                <a:gd name="T3" fmla="*/ 10 h 10"/>
                <a:gd name="T4" fmla="*/ 0 w 129"/>
                <a:gd name="T5" fmla="*/ 5 h 10"/>
                <a:gd name="T6" fmla="*/ 5 w 129"/>
                <a:gd name="T7" fmla="*/ 0 h 10"/>
                <a:gd name="T8" fmla="*/ 124 w 129"/>
                <a:gd name="T9" fmla="*/ 0 h 10"/>
                <a:gd name="T10" fmla="*/ 129 w 129"/>
                <a:gd name="T11" fmla="*/ 5 h 10"/>
                <a:gd name="T12" fmla="*/ 124 w 129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" h="10">
                  <a:moveTo>
                    <a:pt x="124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7" y="0"/>
                    <a:pt x="129" y="2"/>
                    <a:pt x="129" y="5"/>
                  </a:cubicBezTo>
                  <a:cubicBezTo>
                    <a:pt x="129" y="8"/>
                    <a:pt x="127" y="10"/>
                    <a:pt x="12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1" name="Freeform 43"/>
            <p:cNvSpPr>
              <a:spLocks noEditPoints="1"/>
            </p:cNvSpPr>
            <p:nvPr/>
          </p:nvSpPr>
          <p:spPr bwMode="gray">
            <a:xfrm>
              <a:off x="-323850" y="2616200"/>
              <a:ext cx="1125538" cy="1544638"/>
            </a:xfrm>
            <a:custGeom>
              <a:avLst/>
              <a:gdLst>
                <a:gd name="T0" fmla="*/ 532 w 709"/>
                <a:gd name="T1" fmla="*/ 0 h 973"/>
                <a:gd name="T2" fmla="*/ 0 w 709"/>
                <a:gd name="T3" fmla="*/ 0 h 973"/>
                <a:gd name="T4" fmla="*/ 0 w 709"/>
                <a:gd name="T5" fmla="*/ 973 h 973"/>
                <a:gd name="T6" fmla="*/ 709 w 709"/>
                <a:gd name="T7" fmla="*/ 973 h 973"/>
                <a:gd name="T8" fmla="*/ 709 w 709"/>
                <a:gd name="T9" fmla="*/ 179 h 973"/>
                <a:gd name="T10" fmla="*/ 532 w 709"/>
                <a:gd name="T11" fmla="*/ 0 h 973"/>
                <a:gd name="T12" fmla="*/ 643 w 709"/>
                <a:gd name="T13" fmla="*/ 897 h 973"/>
                <a:gd name="T14" fmla="*/ 67 w 709"/>
                <a:gd name="T15" fmla="*/ 897 h 973"/>
                <a:gd name="T16" fmla="*/ 67 w 709"/>
                <a:gd name="T17" fmla="*/ 66 h 973"/>
                <a:gd name="T18" fmla="*/ 502 w 709"/>
                <a:gd name="T19" fmla="*/ 66 h 973"/>
                <a:gd name="T20" fmla="*/ 502 w 709"/>
                <a:gd name="T21" fmla="*/ 208 h 973"/>
                <a:gd name="T22" fmla="*/ 643 w 709"/>
                <a:gd name="T23" fmla="*/ 208 h 973"/>
                <a:gd name="T24" fmla="*/ 643 w 709"/>
                <a:gd name="T25" fmla="*/ 897 h 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09" h="973">
                  <a:moveTo>
                    <a:pt x="532" y="0"/>
                  </a:moveTo>
                  <a:lnTo>
                    <a:pt x="0" y="0"/>
                  </a:lnTo>
                  <a:lnTo>
                    <a:pt x="0" y="973"/>
                  </a:lnTo>
                  <a:lnTo>
                    <a:pt x="709" y="973"/>
                  </a:lnTo>
                  <a:lnTo>
                    <a:pt x="709" y="179"/>
                  </a:lnTo>
                  <a:lnTo>
                    <a:pt x="532" y="0"/>
                  </a:lnTo>
                  <a:close/>
                  <a:moveTo>
                    <a:pt x="643" y="897"/>
                  </a:moveTo>
                  <a:lnTo>
                    <a:pt x="67" y="897"/>
                  </a:lnTo>
                  <a:lnTo>
                    <a:pt x="67" y="66"/>
                  </a:lnTo>
                  <a:lnTo>
                    <a:pt x="502" y="66"/>
                  </a:lnTo>
                  <a:lnTo>
                    <a:pt x="502" y="208"/>
                  </a:lnTo>
                  <a:lnTo>
                    <a:pt x="643" y="208"/>
                  </a:lnTo>
                  <a:lnTo>
                    <a:pt x="643" y="89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52" name="Group 71"/>
          <p:cNvGrpSpPr/>
          <p:nvPr userDrawn="1"/>
        </p:nvGrpSpPr>
        <p:grpSpPr bwMode="gray">
          <a:xfrm>
            <a:off x="10264316" y="3301419"/>
            <a:ext cx="1091652" cy="662874"/>
            <a:chOff x="6272213" y="1236663"/>
            <a:chExt cx="2000250" cy="1539875"/>
          </a:xfrm>
        </p:grpSpPr>
        <p:sp>
          <p:nvSpPr>
            <p:cNvPr id="53" name="Freeform 65"/>
            <p:cNvSpPr>
              <a:spLocks/>
            </p:cNvSpPr>
            <p:nvPr/>
          </p:nvSpPr>
          <p:spPr bwMode="gray">
            <a:xfrm>
              <a:off x="6272213" y="1236663"/>
              <a:ext cx="2000250" cy="1539875"/>
            </a:xfrm>
            <a:custGeom>
              <a:avLst/>
              <a:gdLst>
                <a:gd name="T0" fmla="*/ 1260 w 1260"/>
                <a:gd name="T1" fmla="*/ 0 h 970"/>
                <a:gd name="T2" fmla="*/ 0 w 1260"/>
                <a:gd name="T3" fmla="*/ 0 h 970"/>
                <a:gd name="T4" fmla="*/ 0 w 1260"/>
                <a:gd name="T5" fmla="*/ 970 h 970"/>
                <a:gd name="T6" fmla="*/ 1260 w 1260"/>
                <a:gd name="T7" fmla="*/ 970 h 970"/>
                <a:gd name="T8" fmla="*/ 1260 w 1260"/>
                <a:gd name="T9" fmla="*/ 0 h 970"/>
                <a:gd name="T10" fmla="*/ 1260 w 1260"/>
                <a:gd name="T11" fmla="*/ 0 h 9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60" h="970">
                  <a:moveTo>
                    <a:pt x="1260" y="0"/>
                  </a:moveTo>
                  <a:lnTo>
                    <a:pt x="0" y="0"/>
                  </a:lnTo>
                  <a:lnTo>
                    <a:pt x="0" y="970"/>
                  </a:lnTo>
                  <a:lnTo>
                    <a:pt x="1260" y="970"/>
                  </a:lnTo>
                  <a:lnTo>
                    <a:pt x="1260" y="0"/>
                  </a:lnTo>
                  <a:lnTo>
                    <a:pt x="126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4" name="Freeform 66"/>
            <p:cNvSpPr>
              <a:spLocks noEditPoints="1"/>
            </p:cNvSpPr>
            <p:nvPr/>
          </p:nvSpPr>
          <p:spPr bwMode="gray">
            <a:xfrm>
              <a:off x="6508751" y="1479550"/>
              <a:ext cx="795338" cy="768350"/>
            </a:xfrm>
            <a:custGeom>
              <a:avLst/>
              <a:gdLst>
                <a:gd name="T0" fmla="*/ 197 w 212"/>
                <a:gd name="T1" fmla="*/ 119 h 205"/>
                <a:gd name="T2" fmla="*/ 197 w 212"/>
                <a:gd name="T3" fmla="*/ 115 h 205"/>
                <a:gd name="T4" fmla="*/ 139 w 212"/>
                <a:gd name="T5" fmla="*/ 31 h 205"/>
                <a:gd name="T6" fmla="*/ 106 w 212"/>
                <a:gd name="T7" fmla="*/ 0 h 205"/>
                <a:gd name="T8" fmla="*/ 74 w 212"/>
                <a:gd name="T9" fmla="*/ 31 h 205"/>
                <a:gd name="T10" fmla="*/ 16 w 212"/>
                <a:gd name="T11" fmla="*/ 115 h 205"/>
                <a:gd name="T12" fmla="*/ 16 w 212"/>
                <a:gd name="T13" fmla="*/ 119 h 205"/>
                <a:gd name="T14" fmla="*/ 0 w 212"/>
                <a:gd name="T15" fmla="*/ 147 h 205"/>
                <a:gd name="T16" fmla="*/ 33 w 212"/>
                <a:gd name="T17" fmla="*/ 179 h 205"/>
                <a:gd name="T18" fmla="*/ 41 w 212"/>
                <a:gd name="T19" fmla="*/ 178 h 205"/>
                <a:gd name="T20" fmla="*/ 106 w 212"/>
                <a:gd name="T21" fmla="*/ 205 h 205"/>
                <a:gd name="T22" fmla="*/ 171 w 212"/>
                <a:gd name="T23" fmla="*/ 178 h 205"/>
                <a:gd name="T24" fmla="*/ 180 w 212"/>
                <a:gd name="T25" fmla="*/ 179 h 205"/>
                <a:gd name="T26" fmla="*/ 212 w 212"/>
                <a:gd name="T27" fmla="*/ 147 h 205"/>
                <a:gd name="T28" fmla="*/ 197 w 212"/>
                <a:gd name="T29" fmla="*/ 119 h 205"/>
                <a:gd name="T30" fmla="*/ 90 w 212"/>
                <a:gd name="T31" fmla="*/ 24 h 205"/>
                <a:gd name="T32" fmla="*/ 122 w 212"/>
                <a:gd name="T33" fmla="*/ 24 h 205"/>
                <a:gd name="T34" fmla="*/ 122 w 212"/>
                <a:gd name="T35" fmla="*/ 36 h 205"/>
                <a:gd name="T36" fmla="*/ 90 w 212"/>
                <a:gd name="T37" fmla="*/ 36 h 205"/>
                <a:gd name="T38" fmla="*/ 90 w 212"/>
                <a:gd name="T39" fmla="*/ 24 h 205"/>
                <a:gd name="T40" fmla="*/ 50 w 212"/>
                <a:gd name="T41" fmla="*/ 152 h 205"/>
                <a:gd name="T42" fmla="*/ 18 w 212"/>
                <a:gd name="T43" fmla="*/ 152 h 205"/>
                <a:gd name="T44" fmla="*/ 18 w 212"/>
                <a:gd name="T45" fmla="*/ 140 h 205"/>
                <a:gd name="T46" fmla="*/ 50 w 212"/>
                <a:gd name="T47" fmla="*/ 140 h 205"/>
                <a:gd name="T48" fmla="*/ 50 w 212"/>
                <a:gd name="T49" fmla="*/ 152 h 205"/>
                <a:gd name="T50" fmla="*/ 106 w 212"/>
                <a:gd name="T51" fmla="*/ 191 h 205"/>
                <a:gd name="T52" fmla="*/ 55 w 212"/>
                <a:gd name="T53" fmla="*/ 170 h 205"/>
                <a:gd name="T54" fmla="*/ 65 w 212"/>
                <a:gd name="T55" fmla="*/ 147 h 205"/>
                <a:gd name="T56" fmla="*/ 33 w 212"/>
                <a:gd name="T57" fmla="*/ 115 h 205"/>
                <a:gd name="T58" fmla="*/ 31 w 212"/>
                <a:gd name="T59" fmla="*/ 115 h 205"/>
                <a:gd name="T60" fmla="*/ 77 w 212"/>
                <a:gd name="T61" fmla="*/ 46 h 205"/>
                <a:gd name="T62" fmla="*/ 106 w 212"/>
                <a:gd name="T63" fmla="*/ 65 h 205"/>
                <a:gd name="T64" fmla="*/ 136 w 212"/>
                <a:gd name="T65" fmla="*/ 46 h 205"/>
                <a:gd name="T66" fmla="*/ 182 w 212"/>
                <a:gd name="T67" fmla="*/ 115 h 205"/>
                <a:gd name="T68" fmla="*/ 180 w 212"/>
                <a:gd name="T69" fmla="*/ 115 h 205"/>
                <a:gd name="T70" fmla="*/ 148 w 212"/>
                <a:gd name="T71" fmla="*/ 147 h 205"/>
                <a:gd name="T72" fmla="*/ 158 w 212"/>
                <a:gd name="T73" fmla="*/ 170 h 205"/>
                <a:gd name="T74" fmla="*/ 106 w 212"/>
                <a:gd name="T75" fmla="*/ 191 h 205"/>
                <a:gd name="T76" fmla="*/ 198 w 212"/>
                <a:gd name="T77" fmla="*/ 152 h 205"/>
                <a:gd name="T78" fmla="*/ 162 w 212"/>
                <a:gd name="T79" fmla="*/ 152 h 205"/>
                <a:gd name="T80" fmla="*/ 162 w 212"/>
                <a:gd name="T81" fmla="*/ 140 h 205"/>
                <a:gd name="T82" fmla="*/ 198 w 212"/>
                <a:gd name="T83" fmla="*/ 140 h 205"/>
                <a:gd name="T84" fmla="*/ 198 w 212"/>
                <a:gd name="T85" fmla="*/ 15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2" h="205">
                  <a:moveTo>
                    <a:pt x="197" y="119"/>
                  </a:moveTo>
                  <a:cubicBezTo>
                    <a:pt x="197" y="118"/>
                    <a:pt x="197" y="116"/>
                    <a:pt x="197" y="115"/>
                  </a:cubicBezTo>
                  <a:cubicBezTo>
                    <a:pt x="197" y="77"/>
                    <a:pt x="173" y="44"/>
                    <a:pt x="139" y="31"/>
                  </a:cubicBezTo>
                  <a:cubicBezTo>
                    <a:pt x="138" y="14"/>
                    <a:pt x="124" y="0"/>
                    <a:pt x="106" y="0"/>
                  </a:cubicBezTo>
                  <a:cubicBezTo>
                    <a:pt x="89" y="0"/>
                    <a:pt x="75" y="14"/>
                    <a:pt x="74" y="31"/>
                  </a:cubicBezTo>
                  <a:cubicBezTo>
                    <a:pt x="40" y="44"/>
                    <a:pt x="16" y="77"/>
                    <a:pt x="16" y="115"/>
                  </a:cubicBezTo>
                  <a:cubicBezTo>
                    <a:pt x="16" y="116"/>
                    <a:pt x="16" y="118"/>
                    <a:pt x="16" y="119"/>
                  </a:cubicBezTo>
                  <a:cubicBezTo>
                    <a:pt x="7" y="125"/>
                    <a:pt x="0" y="135"/>
                    <a:pt x="0" y="147"/>
                  </a:cubicBezTo>
                  <a:cubicBezTo>
                    <a:pt x="0" y="165"/>
                    <a:pt x="15" y="179"/>
                    <a:pt x="33" y="179"/>
                  </a:cubicBezTo>
                  <a:cubicBezTo>
                    <a:pt x="36" y="179"/>
                    <a:pt x="39" y="179"/>
                    <a:pt x="41" y="178"/>
                  </a:cubicBezTo>
                  <a:cubicBezTo>
                    <a:pt x="58" y="195"/>
                    <a:pt x="81" y="205"/>
                    <a:pt x="106" y="205"/>
                  </a:cubicBezTo>
                  <a:cubicBezTo>
                    <a:pt x="132" y="205"/>
                    <a:pt x="155" y="195"/>
                    <a:pt x="171" y="178"/>
                  </a:cubicBezTo>
                  <a:cubicBezTo>
                    <a:pt x="174" y="179"/>
                    <a:pt x="177" y="179"/>
                    <a:pt x="180" y="179"/>
                  </a:cubicBezTo>
                  <a:cubicBezTo>
                    <a:pt x="198" y="179"/>
                    <a:pt x="212" y="165"/>
                    <a:pt x="212" y="147"/>
                  </a:cubicBezTo>
                  <a:cubicBezTo>
                    <a:pt x="212" y="135"/>
                    <a:pt x="206" y="125"/>
                    <a:pt x="197" y="119"/>
                  </a:cubicBezTo>
                  <a:close/>
                  <a:moveTo>
                    <a:pt x="90" y="2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22" y="36"/>
                    <a:pt x="122" y="36"/>
                    <a:pt x="122" y="36"/>
                  </a:cubicBezTo>
                  <a:cubicBezTo>
                    <a:pt x="90" y="36"/>
                    <a:pt x="90" y="36"/>
                    <a:pt x="90" y="36"/>
                  </a:cubicBezTo>
                  <a:lnTo>
                    <a:pt x="90" y="24"/>
                  </a:lnTo>
                  <a:close/>
                  <a:moveTo>
                    <a:pt x="50" y="152"/>
                  </a:moveTo>
                  <a:cubicBezTo>
                    <a:pt x="18" y="152"/>
                    <a:pt x="18" y="152"/>
                    <a:pt x="18" y="152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50" y="140"/>
                    <a:pt x="50" y="140"/>
                    <a:pt x="50" y="140"/>
                  </a:cubicBezTo>
                  <a:lnTo>
                    <a:pt x="50" y="152"/>
                  </a:lnTo>
                  <a:close/>
                  <a:moveTo>
                    <a:pt x="106" y="191"/>
                  </a:moveTo>
                  <a:cubicBezTo>
                    <a:pt x="86" y="191"/>
                    <a:pt x="68" y="183"/>
                    <a:pt x="55" y="170"/>
                  </a:cubicBezTo>
                  <a:cubicBezTo>
                    <a:pt x="61" y="164"/>
                    <a:pt x="65" y="156"/>
                    <a:pt x="65" y="147"/>
                  </a:cubicBezTo>
                  <a:cubicBezTo>
                    <a:pt x="65" y="129"/>
                    <a:pt x="50" y="115"/>
                    <a:pt x="33" y="115"/>
                  </a:cubicBezTo>
                  <a:cubicBezTo>
                    <a:pt x="32" y="115"/>
                    <a:pt x="31" y="115"/>
                    <a:pt x="31" y="115"/>
                  </a:cubicBezTo>
                  <a:cubicBezTo>
                    <a:pt x="31" y="84"/>
                    <a:pt x="50" y="57"/>
                    <a:pt x="77" y="46"/>
                  </a:cubicBezTo>
                  <a:cubicBezTo>
                    <a:pt x="82" y="57"/>
                    <a:pt x="93" y="65"/>
                    <a:pt x="106" y="65"/>
                  </a:cubicBezTo>
                  <a:cubicBezTo>
                    <a:pt x="120" y="65"/>
                    <a:pt x="131" y="57"/>
                    <a:pt x="136" y="46"/>
                  </a:cubicBezTo>
                  <a:cubicBezTo>
                    <a:pt x="163" y="57"/>
                    <a:pt x="182" y="84"/>
                    <a:pt x="182" y="115"/>
                  </a:cubicBezTo>
                  <a:cubicBezTo>
                    <a:pt x="181" y="115"/>
                    <a:pt x="181" y="115"/>
                    <a:pt x="180" y="115"/>
                  </a:cubicBezTo>
                  <a:cubicBezTo>
                    <a:pt x="162" y="115"/>
                    <a:pt x="148" y="129"/>
                    <a:pt x="148" y="147"/>
                  </a:cubicBezTo>
                  <a:cubicBezTo>
                    <a:pt x="148" y="156"/>
                    <a:pt x="152" y="164"/>
                    <a:pt x="158" y="170"/>
                  </a:cubicBezTo>
                  <a:cubicBezTo>
                    <a:pt x="144" y="183"/>
                    <a:pt x="126" y="191"/>
                    <a:pt x="106" y="191"/>
                  </a:cubicBezTo>
                  <a:close/>
                  <a:moveTo>
                    <a:pt x="198" y="152"/>
                  </a:moveTo>
                  <a:cubicBezTo>
                    <a:pt x="162" y="152"/>
                    <a:pt x="162" y="152"/>
                    <a:pt x="162" y="152"/>
                  </a:cubicBezTo>
                  <a:cubicBezTo>
                    <a:pt x="162" y="140"/>
                    <a:pt x="162" y="140"/>
                    <a:pt x="162" y="140"/>
                  </a:cubicBezTo>
                  <a:cubicBezTo>
                    <a:pt x="198" y="140"/>
                    <a:pt x="198" y="140"/>
                    <a:pt x="198" y="140"/>
                  </a:cubicBezTo>
                  <a:lnTo>
                    <a:pt x="198" y="1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5" name="Freeform 67"/>
            <p:cNvSpPr>
              <a:spLocks/>
            </p:cNvSpPr>
            <p:nvPr/>
          </p:nvSpPr>
          <p:spPr bwMode="gray">
            <a:xfrm>
              <a:off x="6508751" y="2439988"/>
              <a:ext cx="1316038" cy="47625"/>
            </a:xfrm>
            <a:custGeom>
              <a:avLst/>
              <a:gdLst>
                <a:gd name="T0" fmla="*/ 345 w 351"/>
                <a:gd name="T1" fmla="*/ 13 h 13"/>
                <a:gd name="T2" fmla="*/ 7 w 351"/>
                <a:gd name="T3" fmla="*/ 13 h 13"/>
                <a:gd name="T4" fmla="*/ 0 w 351"/>
                <a:gd name="T5" fmla="*/ 7 h 13"/>
                <a:gd name="T6" fmla="*/ 7 w 351"/>
                <a:gd name="T7" fmla="*/ 0 h 13"/>
                <a:gd name="T8" fmla="*/ 345 w 351"/>
                <a:gd name="T9" fmla="*/ 0 h 13"/>
                <a:gd name="T10" fmla="*/ 351 w 351"/>
                <a:gd name="T11" fmla="*/ 7 h 13"/>
                <a:gd name="T12" fmla="*/ 345 w 351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1" h="13">
                  <a:moveTo>
                    <a:pt x="345" y="13"/>
                  </a:moveTo>
                  <a:cubicBezTo>
                    <a:pt x="7" y="13"/>
                    <a:pt x="7" y="13"/>
                    <a:pt x="7" y="13"/>
                  </a:cubicBezTo>
                  <a:cubicBezTo>
                    <a:pt x="3" y="13"/>
                    <a:pt x="0" y="10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345" y="0"/>
                    <a:pt x="345" y="0"/>
                    <a:pt x="345" y="0"/>
                  </a:cubicBezTo>
                  <a:cubicBezTo>
                    <a:pt x="349" y="0"/>
                    <a:pt x="351" y="3"/>
                    <a:pt x="351" y="7"/>
                  </a:cubicBezTo>
                  <a:cubicBezTo>
                    <a:pt x="351" y="10"/>
                    <a:pt x="349" y="13"/>
                    <a:pt x="345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6" name="Freeform 68"/>
            <p:cNvSpPr>
              <a:spLocks/>
            </p:cNvSpPr>
            <p:nvPr/>
          </p:nvSpPr>
          <p:spPr bwMode="gray">
            <a:xfrm>
              <a:off x="6508751" y="2544763"/>
              <a:ext cx="1466850" cy="44450"/>
            </a:xfrm>
            <a:custGeom>
              <a:avLst/>
              <a:gdLst>
                <a:gd name="T0" fmla="*/ 385 w 391"/>
                <a:gd name="T1" fmla="*/ 12 h 12"/>
                <a:gd name="T2" fmla="*/ 7 w 391"/>
                <a:gd name="T3" fmla="*/ 12 h 12"/>
                <a:gd name="T4" fmla="*/ 0 w 391"/>
                <a:gd name="T5" fmla="*/ 6 h 12"/>
                <a:gd name="T6" fmla="*/ 7 w 391"/>
                <a:gd name="T7" fmla="*/ 0 h 12"/>
                <a:gd name="T8" fmla="*/ 385 w 391"/>
                <a:gd name="T9" fmla="*/ 0 h 12"/>
                <a:gd name="T10" fmla="*/ 391 w 391"/>
                <a:gd name="T11" fmla="*/ 6 h 12"/>
                <a:gd name="T12" fmla="*/ 385 w 39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1" h="12">
                  <a:moveTo>
                    <a:pt x="385" y="12"/>
                  </a:moveTo>
                  <a:cubicBezTo>
                    <a:pt x="7" y="12"/>
                    <a:pt x="7" y="12"/>
                    <a:pt x="7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385" y="0"/>
                    <a:pt x="385" y="0"/>
                    <a:pt x="385" y="0"/>
                  </a:cubicBezTo>
                  <a:cubicBezTo>
                    <a:pt x="388" y="0"/>
                    <a:pt x="391" y="3"/>
                    <a:pt x="391" y="6"/>
                  </a:cubicBezTo>
                  <a:cubicBezTo>
                    <a:pt x="391" y="10"/>
                    <a:pt x="388" y="12"/>
                    <a:pt x="385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7" name="Freeform 69"/>
            <p:cNvSpPr>
              <a:spLocks/>
            </p:cNvSpPr>
            <p:nvPr/>
          </p:nvSpPr>
          <p:spPr bwMode="gray">
            <a:xfrm>
              <a:off x="7529513" y="1611313"/>
              <a:ext cx="460375" cy="33338"/>
            </a:xfrm>
            <a:custGeom>
              <a:avLst/>
              <a:gdLst>
                <a:gd name="T0" fmla="*/ 118 w 123"/>
                <a:gd name="T1" fmla="*/ 9 h 9"/>
                <a:gd name="T2" fmla="*/ 4 w 123"/>
                <a:gd name="T3" fmla="*/ 9 h 9"/>
                <a:gd name="T4" fmla="*/ 0 w 123"/>
                <a:gd name="T5" fmla="*/ 4 h 9"/>
                <a:gd name="T6" fmla="*/ 4 w 123"/>
                <a:gd name="T7" fmla="*/ 0 h 9"/>
                <a:gd name="T8" fmla="*/ 118 w 123"/>
                <a:gd name="T9" fmla="*/ 0 h 9"/>
                <a:gd name="T10" fmla="*/ 123 w 123"/>
                <a:gd name="T11" fmla="*/ 4 h 9"/>
                <a:gd name="T12" fmla="*/ 118 w 123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9">
                  <a:moveTo>
                    <a:pt x="118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21" y="0"/>
                    <a:pt x="123" y="2"/>
                    <a:pt x="123" y="4"/>
                  </a:cubicBezTo>
                  <a:cubicBezTo>
                    <a:pt x="123" y="7"/>
                    <a:pt x="121" y="9"/>
                    <a:pt x="118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8" name="Freeform 70"/>
            <p:cNvSpPr>
              <a:spLocks/>
            </p:cNvSpPr>
            <p:nvPr/>
          </p:nvSpPr>
          <p:spPr bwMode="gray">
            <a:xfrm>
              <a:off x="7529513" y="1719263"/>
              <a:ext cx="569913" cy="38100"/>
            </a:xfrm>
            <a:custGeom>
              <a:avLst/>
              <a:gdLst>
                <a:gd name="T0" fmla="*/ 147 w 152"/>
                <a:gd name="T1" fmla="*/ 10 h 10"/>
                <a:gd name="T2" fmla="*/ 4 w 152"/>
                <a:gd name="T3" fmla="*/ 10 h 10"/>
                <a:gd name="T4" fmla="*/ 0 w 152"/>
                <a:gd name="T5" fmla="*/ 5 h 10"/>
                <a:gd name="T6" fmla="*/ 4 w 152"/>
                <a:gd name="T7" fmla="*/ 0 h 10"/>
                <a:gd name="T8" fmla="*/ 147 w 152"/>
                <a:gd name="T9" fmla="*/ 0 h 10"/>
                <a:gd name="T10" fmla="*/ 152 w 152"/>
                <a:gd name="T11" fmla="*/ 5 h 10"/>
                <a:gd name="T12" fmla="*/ 147 w 152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0">
                  <a:moveTo>
                    <a:pt x="147" y="10"/>
                  </a:moveTo>
                  <a:cubicBezTo>
                    <a:pt x="4" y="10"/>
                    <a:pt x="4" y="10"/>
                    <a:pt x="4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3"/>
                    <a:pt x="2" y="0"/>
                    <a:pt x="4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50" y="0"/>
                    <a:pt x="152" y="3"/>
                    <a:pt x="152" y="5"/>
                  </a:cubicBezTo>
                  <a:cubicBezTo>
                    <a:pt x="152" y="8"/>
                    <a:pt x="150" y="10"/>
                    <a:pt x="147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9" name="Freeform 71"/>
            <p:cNvSpPr>
              <a:spLocks/>
            </p:cNvSpPr>
            <p:nvPr/>
          </p:nvSpPr>
          <p:spPr bwMode="gray">
            <a:xfrm>
              <a:off x="7529513" y="1831975"/>
              <a:ext cx="460375" cy="38100"/>
            </a:xfrm>
            <a:custGeom>
              <a:avLst/>
              <a:gdLst>
                <a:gd name="T0" fmla="*/ 118 w 123"/>
                <a:gd name="T1" fmla="*/ 10 h 10"/>
                <a:gd name="T2" fmla="*/ 4 w 123"/>
                <a:gd name="T3" fmla="*/ 10 h 10"/>
                <a:gd name="T4" fmla="*/ 0 w 123"/>
                <a:gd name="T5" fmla="*/ 5 h 10"/>
                <a:gd name="T6" fmla="*/ 4 w 123"/>
                <a:gd name="T7" fmla="*/ 0 h 10"/>
                <a:gd name="T8" fmla="*/ 118 w 123"/>
                <a:gd name="T9" fmla="*/ 0 h 10"/>
                <a:gd name="T10" fmla="*/ 123 w 123"/>
                <a:gd name="T11" fmla="*/ 5 h 10"/>
                <a:gd name="T12" fmla="*/ 118 w 123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10">
                  <a:moveTo>
                    <a:pt x="118" y="10"/>
                  </a:moveTo>
                  <a:cubicBezTo>
                    <a:pt x="4" y="10"/>
                    <a:pt x="4" y="10"/>
                    <a:pt x="4" y="10"/>
                  </a:cubicBezTo>
                  <a:cubicBezTo>
                    <a:pt x="2" y="10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21" y="0"/>
                    <a:pt x="123" y="2"/>
                    <a:pt x="123" y="5"/>
                  </a:cubicBezTo>
                  <a:cubicBezTo>
                    <a:pt x="123" y="7"/>
                    <a:pt x="121" y="10"/>
                    <a:pt x="118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0" name="Freeform 72"/>
            <p:cNvSpPr>
              <a:spLocks/>
            </p:cNvSpPr>
            <p:nvPr/>
          </p:nvSpPr>
          <p:spPr bwMode="gray">
            <a:xfrm>
              <a:off x="7529513" y="1944688"/>
              <a:ext cx="190500" cy="33338"/>
            </a:xfrm>
            <a:custGeom>
              <a:avLst/>
              <a:gdLst>
                <a:gd name="T0" fmla="*/ 47 w 51"/>
                <a:gd name="T1" fmla="*/ 9 h 9"/>
                <a:gd name="T2" fmla="*/ 4 w 51"/>
                <a:gd name="T3" fmla="*/ 9 h 9"/>
                <a:gd name="T4" fmla="*/ 0 w 51"/>
                <a:gd name="T5" fmla="*/ 5 h 9"/>
                <a:gd name="T6" fmla="*/ 4 w 51"/>
                <a:gd name="T7" fmla="*/ 0 h 9"/>
                <a:gd name="T8" fmla="*/ 47 w 51"/>
                <a:gd name="T9" fmla="*/ 0 h 9"/>
                <a:gd name="T10" fmla="*/ 51 w 51"/>
                <a:gd name="T11" fmla="*/ 5 h 9"/>
                <a:gd name="T12" fmla="*/ 47 w 51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" h="9">
                  <a:moveTo>
                    <a:pt x="47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9" y="0"/>
                    <a:pt x="51" y="2"/>
                    <a:pt x="51" y="5"/>
                  </a:cubicBezTo>
                  <a:cubicBezTo>
                    <a:pt x="51" y="7"/>
                    <a:pt x="49" y="9"/>
                    <a:pt x="47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1" name="Oval 73"/>
            <p:cNvSpPr>
              <a:spLocks noChangeArrowheads="1"/>
            </p:cNvSpPr>
            <p:nvPr/>
          </p:nvSpPr>
          <p:spPr bwMode="gray">
            <a:xfrm>
              <a:off x="7442201" y="1719263"/>
              <a:ext cx="38100" cy="412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2" name="Oval 74"/>
            <p:cNvSpPr>
              <a:spLocks noChangeArrowheads="1"/>
            </p:cNvSpPr>
            <p:nvPr/>
          </p:nvSpPr>
          <p:spPr bwMode="gray">
            <a:xfrm>
              <a:off x="7442201" y="1828800"/>
              <a:ext cx="38100" cy="412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3" name="Oval 75"/>
            <p:cNvSpPr>
              <a:spLocks noChangeArrowheads="1"/>
            </p:cNvSpPr>
            <p:nvPr/>
          </p:nvSpPr>
          <p:spPr bwMode="gray">
            <a:xfrm>
              <a:off x="7442201" y="1944688"/>
              <a:ext cx="38100" cy="38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4" name="Oval 76"/>
            <p:cNvSpPr>
              <a:spLocks noChangeArrowheads="1"/>
            </p:cNvSpPr>
            <p:nvPr/>
          </p:nvSpPr>
          <p:spPr bwMode="gray">
            <a:xfrm>
              <a:off x="7442201" y="1606550"/>
              <a:ext cx="38100" cy="38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65" name="Group 84"/>
          <p:cNvGrpSpPr>
            <a:grpSpLocks noChangeAspect="1"/>
          </p:cNvGrpSpPr>
          <p:nvPr userDrawn="1"/>
        </p:nvGrpSpPr>
        <p:grpSpPr bwMode="gray">
          <a:xfrm>
            <a:off x="10098833" y="4704460"/>
            <a:ext cx="1466080" cy="812589"/>
            <a:chOff x="1944" y="1520"/>
            <a:chExt cx="1871" cy="1276"/>
          </a:xfrm>
          <a:solidFill>
            <a:srgbClr val="194780"/>
          </a:solidFill>
        </p:grpSpPr>
        <p:sp>
          <p:nvSpPr>
            <p:cNvPr id="66" name="Freeform 85"/>
            <p:cNvSpPr>
              <a:spLocks noEditPoints="1"/>
            </p:cNvSpPr>
            <p:nvPr/>
          </p:nvSpPr>
          <p:spPr bwMode="gray">
            <a:xfrm>
              <a:off x="2067" y="1520"/>
              <a:ext cx="1616" cy="1153"/>
            </a:xfrm>
            <a:custGeom>
              <a:avLst/>
              <a:gdLst>
                <a:gd name="T0" fmla="*/ 668 w 684"/>
                <a:gd name="T1" fmla="*/ 0 h 488"/>
                <a:gd name="T2" fmla="*/ 16 w 684"/>
                <a:gd name="T3" fmla="*/ 0 h 488"/>
                <a:gd name="T4" fmla="*/ 0 w 684"/>
                <a:gd name="T5" fmla="*/ 16 h 488"/>
                <a:gd name="T6" fmla="*/ 0 w 684"/>
                <a:gd name="T7" fmla="*/ 472 h 488"/>
                <a:gd name="T8" fmla="*/ 16 w 684"/>
                <a:gd name="T9" fmla="*/ 488 h 488"/>
                <a:gd name="T10" fmla="*/ 668 w 684"/>
                <a:gd name="T11" fmla="*/ 488 h 488"/>
                <a:gd name="T12" fmla="*/ 684 w 684"/>
                <a:gd name="T13" fmla="*/ 472 h 488"/>
                <a:gd name="T14" fmla="*/ 684 w 684"/>
                <a:gd name="T15" fmla="*/ 16 h 488"/>
                <a:gd name="T16" fmla="*/ 668 w 684"/>
                <a:gd name="T17" fmla="*/ 0 h 488"/>
                <a:gd name="T18" fmla="*/ 652 w 684"/>
                <a:gd name="T19" fmla="*/ 456 h 488"/>
                <a:gd name="T20" fmla="*/ 32 w 684"/>
                <a:gd name="T21" fmla="*/ 456 h 488"/>
                <a:gd name="T22" fmla="*/ 32 w 684"/>
                <a:gd name="T23" fmla="*/ 32 h 488"/>
                <a:gd name="T24" fmla="*/ 652 w 684"/>
                <a:gd name="T25" fmla="*/ 32 h 488"/>
                <a:gd name="T26" fmla="*/ 652 w 684"/>
                <a:gd name="T27" fmla="*/ 456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84" h="488">
                  <a:moveTo>
                    <a:pt x="668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472"/>
                    <a:pt x="0" y="472"/>
                    <a:pt x="0" y="472"/>
                  </a:cubicBezTo>
                  <a:cubicBezTo>
                    <a:pt x="0" y="481"/>
                    <a:pt x="7" y="488"/>
                    <a:pt x="16" y="488"/>
                  </a:cubicBezTo>
                  <a:cubicBezTo>
                    <a:pt x="668" y="488"/>
                    <a:pt x="668" y="488"/>
                    <a:pt x="668" y="488"/>
                  </a:cubicBezTo>
                  <a:cubicBezTo>
                    <a:pt x="677" y="488"/>
                    <a:pt x="684" y="481"/>
                    <a:pt x="684" y="472"/>
                  </a:cubicBezTo>
                  <a:cubicBezTo>
                    <a:pt x="684" y="16"/>
                    <a:pt x="684" y="16"/>
                    <a:pt x="684" y="16"/>
                  </a:cubicBezTo>
                  <a:cubicBezTo>
                    <a:pt x="684" y="7"/>
                    <a:pt x="677" y="0"/>
                    <a:pt x="668" y="0"/>
                  </a:cubicBezTo>
                  <a:close/>
                  <a:moveTo>
                    <a:pt x="652" y="456"/>
                  </a:moveTo>
                  <a:cubicBezTo>
                    <a:pt x="32" y="456"/>
                    <a:pt x="32" y="456"/>
                    <a:pt x="32" y="456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652" y="32"/>
                    <a:pt x="652" y="32"/>
                    <a:pt x="652" y="32"/>
                  </a:cubicBezTo>
                  <a:lnTo>
                    <a:pt x="652" y="4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7" name="Freeform 86"/>
            <p:cNvSpPr>
              <a:spLocks/>
            </p:cNvSpPr>
            <p:nvPr/>
          </p:nvSpPr>
          <p:spPr bwMode="gray">
            <a:xfrm>
              <a:off x="2771" y="1900"/>
              <a:ext cx="144" cy="331"/>
            </a:xfrm>
            <a:custGeom>
              <a:avLst/>
              <a:gdLst>
                <a:gd name="T0" fmla="*/ 0 w 61"/>
                <a:gd name="T1" fmla="*/ 139 h 140"/>
                <a:gd name="T2" fmla="*/ 1 w 61"/>
                <a:gd name="T3" fmla="*/ 140 h 140"/>
                <a:gd name="T4" fmla="*/ 61 w 61"/>
                <a:gd name="T5" fmla="*/ 56 h 140"/>
                <a:gd name="T6" fmla="*/ 35 w 61"/>
                <a:gd name="T7" fmla="*/ 0 h 140"/>
                <a:gd name="T8" fmla="*/ 0 w 61"/>
                <a:gd name="T9" fmla="*/ 13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40">
                  <a:moveTo>
                    <a:pt x="0" y="139"/>
                  </a:moveTo>
                  <a:cubicBezTo>
                    <a:pt x="0" y="139"/>
                    <a:pt x="1" y="139"/>
                    <a:pt x="1" y="140"/>
                  </a:cubicBezTo>
                  <a:cubicBezTo>
                    <a:pt x="61" y="56"/>
                    <a:pt x="61" y="56"/>
                    <a:pt x="61" y="56"/>
                  </a:cubicBezTo>
                  <a:cubicBezTo>
                    <a:pt x="35" y="0"/>
                    <a:pt x="35" y="0"/>
                    <a:pt x="35" y="0"/>
                  </a:cubicBezTo>
                  <a:lnTo>
                    <a:pt x="0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8" name="Freeform 87"/>
            <p:cNvSpPr>
              <a:spLocks/>
            </p:cNvSpPr>
            <p:nvPr/>
          </p:nvSpPr>
          <p:spPr bwMode="gray">
            <a:xfrm>
              <a:off x="2936" y="1999"/>
              <a:ext cx="81" cy="142"/>
            </a:xfrm>
            <a:custGeom>
              <a:avLst/>
              <a:gdLst>
                <a:gd name="T0" fmla="*/ 0 w 81"/>
                <a:gd name="T1" fmla="*/ 33 h 142"/>
                <a:gd name="T2" fmla="*/ 50 w 81"/>
                <a:gd name="T3" fmla="*/ 142 h 142"/>
                <a:gd name="T4" fmla="*/ 81 w 81"/>
                <a:gd name="T5" fmla="*/ 78 h 142"/>
                <a:gd name="T6" fmla="*/ 24 w 81"/>
                <a:gd name="T7" fmla="*/ 0 h 142"/>
                <a:gd name="T8" fmla="*/ 0 w 81"/>
                <a:gd name="T9" fmla="*/ 3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142">
                  <a:moveTo>
                    <a:pt x="0" y="33"/>
                  </a:moveTo>
                  <a:lnTo>
                    <a:pt x="50" y="142"/>
                  </a:lnTo>
                  <a:lnTo>
                    <a:pt x="81" y="78"/>
                  </a:lnTo>
                  <a:lnTo>
                    <a:pt x="24" y="0"/>
                  </a:lnTo>
                  <a:lnTo>
                    <a:pt x="0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9" name="Freeform 88"/>
            <p:cNvSpPr>
              <a:spLocks noEditPoints="1"/>
            </p:cNvSpPr>
            <p:nvPr/>
          </p:nvSpPr>
          <p:spPr bwMode="gray">
            <a:xfrm>
              <a:off x="2672" y="1671"/>
              <a:ext cx="869" cy="652"/>
            </a:xfrm>
            <a:custGeom>
              <a:avLst/>
              <a:gdLst>
                <a:gd name="T0" fmla="*/ 360 w 368"/>
                <a:gd name="T1" fmla="*/ 0 h 276"/>
                <a:gd name="T2" fmla="*/ 8 w 368"/>
                <a:gd name="T3" fmla="*/ 0 h 276"/>
                <a:gd name="T4" fmla="*/ 0 w 368"/>
                <a:gd name="T5" fmla="*/ 8 h 276"/>
                <a:gd name="T6" fmla="*/ 0 w 368"/>
                <a:gd name="T7" fmla="*/ 268 h 276"/>
                <a:gd name="T8" fmla="*/ 8 w 368"/>
                <a:gd name="T9" fmla="*/ 276 h 276"/>
                <a:gd name="T10" fmla="*/ 360 w 368"/>
                <a:gd name="T11" fmla="*/ 276 h 276"/>
                <a:gd name="T12" fmla="*/ 368 w 368"/>
                <a:gd name="T13" fmla="*/ 268 h 276"/>
                <a:gd name="T14" fmla="*/ 368 w 368"/>
                <a:gd name="T15" fmla="*/ 8 h 276"/>
                <a:gd name="T16" fmla="*/ 360 w 368"/>
                <a:gd name="T17" fmla="*/ 0 h 276"/>
                <a:gd name="T18" fmla="*/ 323 w 368"/>
                <a:gd name="T19" fmla="*/ 159 h 276"/>
                <a:gd name="T20" fmla="*/ 318 w 368"/>
                <a:gd name="T21" fmla="*/ 158 h 276"/>
                <a:gd name="T22" fmla="*/ 274 w 368"/>
                <a:gd name="T23" fmla="*/ 204 h 276"/>
                <a:gd name="T24" fmla="*/ 247 w 368"/>
                <a:gd name="T25" fmla="*/ 169 h 276"/>
                <a:gd name="T26" fmla="*/ 173 w 368"/>
                <a:gd name="T27" fmla="*/ 210 h 276"/>
                <a:gd name="T28" fmla="*/ 151 w 368"/>
                <a:gd name="T29" fmla="*/ 180 h 276"/>
                <a:gd name="T30" fmla="*/ 133 w 368"/>
                <a:gd name="T31" fmla="*/ 218 h 276"/>
                <a:gd name="T32" fmla="*/ 107 w 368"/>
                <a:gd name="T33" fmla="*/ 161 h 276"/>
                <a:gd name="T34" fmla="*/ 47 w 368"/>
                <a:gd name="T35" fmla="*/ 245 h 276"/>
                <a:gd name="T36" fmla="*/ 47 w 368"/>
                <a:gd name="T37" fmla="*/ 246 h 276"/>
                <a:gd name="T38" fmla="*/ 35 w 368"/>
                <a:gd name="T39" fmla="*/ 259 h 276"/>
                <a:gd name="T40" fmla="*/ 22 w 368"/>
                <a:gd name="T41" fmla="*/ 246 h 276"/>
                <a:gd name="T42" fmla="*/ 34 w 368"/>
                <a:gd name="T43" fmla="*/ 233 h 276"/>
                <a:gd name="T44" fmla="*/ 75 w 368"/>
                <a:gd name="T45" fmla="*/ 73 h 276"/>
                <a:gd name="T46" fmla="*/ 108 w 368"/>
                <a:gd name="T47" fmla="*/ 145 h 276"/>
                <a:gd name="T48" fmla="*/ 122 w 368"/>
                <a:gd name="T49" fmla="*/ 125 h 276"/>
                <a:gd name="T50" fmla="*/ 150 w 368"/>
                <a:gd name="T51" fmla="*/ 164 h 276"/>
                <a:gd name="T52" fmla="*/ 188 w 368"/>
                <a:gd name="T53" fmla="*/ 86 h 276"/>
                <a:gd name="T54" fmla="*/ 247 w 368"/>
                <a:gd name="T55" fmla="*/ 106 h 276"/>
                <a:gd name="T56" fmla="*/ 299 w 368"/>
                <a:gd name="T57" fmla="*/ 41 h 276"/>
                <a:gd name="T58" fmla="*/ 298 w 368"/>
                <a:gd name="T59" fmla="*/ 34 h 276"/>
                <a:gd name="T60" fmla="*/ 310 w 368"/>
                <a:gd name="T61" fmla="*/ 22 h 276"/>
                <a:gd name="T62" fmla="*/ 323 w 368"/>
                <a:gd name="T63" fmla="*/ 34 h 276"/>
                <a:gd name="T64" fmla="*/ 310 w 368"/>
                <a:gd name="T65" fmla="*/ 47 h 276"/>
                <a:gd name="T66" fmla="*/ 305 w 368"/>
                <a:gd name="T67" fmla="*/ 46 h 276"/>
                <a:gd name="T68" fmla="*/ 250 w 368"/>
                <a:gd name="T69" fmla="*/ 116 h 276"/>
                <a:gd name="T70" fmla="*/ 192 w 368"/>
                <a:gd name="T71" fmla="*/ 96 h 276"/>
                <a:gd name="T72" fmla="*/ 155 w 368"/>
                <a:gd name="T73" fmla="*/ 172 h 276"/>
                <a:gd name="T74" fmla="*/ 175 w 368"/>
                <a:gd name="T75" fmla="*/ 200 h 276"/>
                <a:gd name="T76" fmla="*/ 249 w 368"/>
                <a:gd name="T77" fmla="*/ 159 h 276"/>
                <a:gd name="T78" fmla="*/ 274 w 368"/>
                <a:gd name="T79" fmla="*/ 191 h 276"/>
                <a:gd name="T80" fmla="*/ 312 w 368"/>
                <a:gd name="T81" fmla="*/ 153 h 276"/>
                <a:gd name="T82" fmla="*/ 311 w 368"/>
                <a:gd name="T83" fmla="*/ 147 h 276"/>
                <a:gd name="T84" fmla="*/ 323 w 368"/>
                <a:gd name="T85" fmla="*/ 134 h 276"/>
                <a:gd name="T86" fmla="*/ 336 w 368"/>
                <a:gd name="T87" fmla="*/ 147 h 276"/>
                <a:gd name="T88" fmla="*/ 323 w 368"/>
                <a:gd name="T89" fmla="*/ 159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68" h="276">
                  <a:moveTo>
                    <a:pt x="360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268"/>
                    <a:pt x="0" y="268"/>
                    <a:pt x="0" y="268"/>
                  </a:cubicBezTo>
                  <a:cubicBezTo>
                    <a:pt x="0" y="272"/>
                    <a:pt x="4" y="276"/>
                    <a:pt x="8" y="276"/>
                  </a:cubicBezTo>
                  <a:cubicBezTo>
                    <a:pt x="360" y="276"/>
                    <a:pt x="360" y="276"/>
                    <a:pt x="360" y="276"/>
                  </a:cubicBezTo>
                  <a:cubicBezTo>
                    <a:pt x="364" y="276"/>
                    <a:pt x="368" y="272"/>
                    <a:pt x="368" y="268"/>
                  </a:cubicBezTo>
                  <a:cubicBezTo>
                    <a:pt x="368" y="8"/>
                    <a:pt x="368" y="8"/>
                    <a:pt x="368" y="8"/>
                  </a:cubicBezTo>
                  <a:cubicBezTo>
                    <a:pt x="368" y="4"/>
                    <a:pt x="364" y="0"/>
                    <a:pt x="360" y="0"/>
                  </a:cubicBezTo>
                  <a:close/>
                  <a:moveTo>
                    <a:pt x="323" y="159"/>
                  </a:moveTo>
                  <a:cubicBezTo>
                    <a:pt x="322" y="159"/>
                    <a:pt x="320" y="159"/>
                    <a:pt x="318" y="158"/>
                  </a:cubicBezTo>
                  <a:cubicBezTo>
                    <a:pt x="274" y="204"/>
                    <a:pt x="274" y="204"/>
                    <a:pt x="274" y="204"/>
                  </a:cubicBezTo>
                  <a:cubicBezTo>
                    <a:pt x="247" y="169"/>
                    <a:pt x="247" y="169"/>
                    <a:pt x="247" y="169"/>
                  </a:cubicBezTo>
                  <a:cubicBezTo>
                    <a:pt x="173" y="210"/>
                    <a:pt x="173" y="210"/>
                    <a:pt x="173" y="210"/>
                  </a:cubicBezTo>
                  <a:cubicBezTo>
                    <a:pt x="151" y="180"/>
                    <a:pt x="151" y="180"/>
                    <a:pt x="151" y="180"/>
                  </a:cubicBezTo>
                  <a:cubicBezTo>
                    <a:pt x="133" y="218"/>
                    <a:pt x="133" y="218"/>
                    <a:pt x="133" y="218"/>
                  </a:cubicBezTo>
                  <a:cubicBezTo>
                    <a:pt x="107" y="161"/>
                    <a:pt x="107" y="161"/>
                    <a:pt x="107" y="161"/>
                  </a:cubicBezTo>
                  <a:cubicBezTo>
                    <a:pt x="47" y="245"/>
                    <a:pt x="47" y="245"/>
                    <a:pt x="47" y="245"/>
                  </a:cubicBezTo>
                  <a:cubicBezTo>
                    <a:pt x="47" y="245"/>
                    <a:pt x="47" y="246"/>
                    <a:pt x="47" y="246"/>
                  </a:cubicBezTo>
                  <a:cubicBezTo>
                    <a:pt x="47" y="253"/>
                    <a:pt x="42" y="259"/>
                    <a:pt x="35" y="259"/>
                  </a:cubicBezTo>
                  <a:cubicBezTo>
                    <a:pt x="28" y="259"/>
                    <a:pt x="22" y="253"/>
                    <a:pt x="22" y="246"/>
                  </a:cubicBezTo>
                  <a:cubicBezTo>
                    <a:pt x="22" y="239"/>
                    <a:pt x="27" y="234"/>
                    <a:pt x="34" y="233"/>
                  </a:cubicBezTo>
                  <a:cubicBezTo>
                    <a:pt x="75" y="73"/>
                    <a:pt x="75" y="73"/>
                    <a:pt x="75" y="73"/>
                  </a:cubicBezTo>
                  <a:cubicBezTo>
                    <a:pt x="108" y="145"/>
                    <a:pt x="108" y="145"/>
                    <a:pt x="108" y="145"/>
                  </a:cubicBezTo>
                  <a:cubicBezTo>
                    <a:pt x="122" y="125"/>
                    <a:pt x="122" y="125"/>
                    <a:pt x="122" y="125"/>
                  </a:cubicBezTo>
                  <a:cubicBezTo>
                    <a:pt x="150" y="164"/>
                    <a:pt x="150" y="164"/>
                    <a:pt x="150" y="164"/>
                  </a:cubicBezTo>
                  <a:cubicBezTo>
                    <a:pt x="188" y="86"/>
                    <a:pt x="188" y="86"/>
                    <a:pt x="188" y="86"/>
                  </a:cubicBezTo>
                  <a:cubicBezTo>
                    <a:pt x="247" y="106"/>
                    <a:pt x="247" y="106"/>
                    <a:pt x="247" y="106"/>
                  </a:cubicBezTo>
                  <a:cubicBezTo>
                    <a:pt x="299" y="41"/>
                    <a:pt x="299" y="41"/>
                    <a:pt x="299" y="41"/>
                  </a:cubicBezTo>
                  <a:cubicBezTo>
                    <a:pt x="298" y="39"/>
                    <a:pt x="298" y="37"/>
                    <a:pt x="298" y="34"/>
                  </a:cubicBezTo>
                  <a:cubicBezTo>
                    <a:pt x="298" y="27"/>
                    <a:pt x="303" y="22"/>
                    <a:pt x="310" y="22"/>
                  </a:cubicBezTo>
                  <a:cubicBezTo>
                    <a:pt x="317" y="22"/>
                    <a:pt x="323" y="27"/>
                    <a:pt x="323" y="34"/>
                  </a:cubicBezTo>
                  <a:cubicBezTo>
                    <a:pt x="323" y="41"/>
                    <a:pt x="317" y="47"/>
                    <a:pt x="310" y="47"/>
                  </a:cubicBezTo>
                  <a:cubicBezTo>
                    <a:pt x="309" y="47"/>
                    <a:pt x="307" y="46"/>
                    <a:pt x="305" y="46"/>
                  </a:cubicBezTo>
                  <a:cubicBezTo>
                    <a:pt x="250" y="116"/>
                    <a:pt x="250" y="116"/>
                    <a:pt x="250" y="116"/>
                  </a:cubicBezTo>
                  <a:cubicBezTo>
                    <a:pt x="192" y="96"/>
                    <a:pt x="192" y="96"/>
                    <a:pt x="192" y="96"/>
                  </a:cubicBezTo>
                  <a:cubicBezTo>
                    <a:pt x="155" y="172"/>
                    <a:pt x="155" y="172"/>
                    <a:pt x="155" y="172"/>
                  </a:cubicBezTo>
                  <a:cubicBezTo>
                    <a:pt x="175" y="200"/>
                    <a:pt x="175" y="200"/>
                    <a:pt x="175" y="200"/>
                  </a:cubicBezTo>
                  <a:cubicBezTo>
                    <a:pt x="249" y="159"/>
                    <a:pt x="249" y="159"/>
                    <a:pt x="249" y="159"/>
                  </a:cubicBezTo>
                  <a:cubicBezTo>
                    <a:pt x="274" y="191"/>
                    <a:pt x="274" y="191"/>
                    <a:pt x="274" y="191"/>
                  </a:cubicBezTo>
                  <a:cubicBezTo>
                    <a:pt x="312" y="153"/>
                    <a:pt x="312" y="153"/>
                    <a:pt x="312" y="153"/>
                  </a:cubicBezTo>
                  <a:cubicBezTo>
                    <a:pt x="311" y="151"/>
                    <a:pt x="311" y="149"/>
                    <a:pt x="311" y="147"/>
                  </a:cubicBezTo>
                  <a:cubicBezTo>
                    <a:pt x="311" y="140"/>
                    <a:pt x="316" y="134"/>
                    <a:pt x="323" y="134"/>
                  </a:cubicBezTo>
                  <a:cubicBezTo>
                    <a:pt x="330" y="134"/>
                    <a:pt x="336" y="140"/>
                    <a:pt x="336" y="147"/>
                  </a:cubicBezTo>
                  <a:cubicBezTo>
                    <a:pt x="336" y="154"/>
                    <a:pt x="330" y="159"/>
                    <a:pt x="323" y="1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0" name="Freeform 89"/>
            <p:cNvSpPr>
              <a:spLocks/>
            </p:cNvSpPr>
            <p:nvPr/>
          </p:nvSpPr>
          <p:spPr bwMode="gray">
            <a:xfrm>
              <a:off x="2672" y="2351"/>
              <a:ext cx="869" cy="142"/>
            </a:xfrm>
            <a:custGeom>
              <a:avLst/>
              <a:gdLst>
                <a:gd name="T0" fmla="*/ 368 w 368"/>
                <a:gd name="T1" fmla="*/ 32 h 60"/>
                <a:gd name="T2" fmla="*/ 338 w 368"/>
                <a:gd name="T3" fmla="*/ 60 h 60"/>
                <a:gd name="T4" fmla="*/ 31 w 368"/>
                <a:gd name="T5" fmla="*/ 60 h 60"/>
                <a:gd name="T6" fmla="*/ 0 w 368"/>
                <a:gd name="T7" fmla="*/ 32 h 60"/>
                <a:gd name="T8" fmla="*/ 0 w 368"/>
                <a:gd name="T9" fmla="*/ 28 h 60"/>
                <a:gd name="T10" fmla="*/ 31 w 368"/>
                <a:gd name="T11" fmla="*/ 0 h 60"/>
                <a:gd name="T12" fmla="*/ 338 w 368"/>
                <a:gd name="T13" fmla="*/ 0 h 60"/>
                <a:gd name="T14" fmla="*/ 368 w 368"/>
                <a:gd name="T15" fmla="*/ 28 h 60"/>
                <a:gd name="T16" fmla="*/ 368 w 368"/>
                <a:gd name="T17" fmla="*/ 3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8" h="60">
                  <a:moveTo>
                    <a:pt x="368" y="32"/>
                  </a:moveTo>
                  <a:cubicBezTo>
                    <a:pt x="368" y="47"/>
                    <a:pt x="355" y="60"/>
                    <a:pt x="338" y="60"/>
                  </a:cubicBezTo>
                  <a:cubicBezTo>
                    <a:pt x="31" y="60"/>
                    <a:pt x="31" y="60"/>
                    <a:pt x="31" y="60"/>
                  </a:cubicBezTo>
                  <a:cubicBezTo>
                    <a:pt x="14" y="60"/>
                    <a:pt x="0" y="47"/>
                    <a:pt x="0" y="3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4" y="0"/>
                    <a:pt x="31" y="0"/>
                  </a:cubicBezTo>
                  <a:cubicBezTo>
                    <a:pt x="338" y="0"/>
                    <a:pt x="338" y="0"/>
                    <a:pt x="338" y="0"/>
                  </a:cubicBezTo>
                  <a:cubicBezTo>
                    <a:pt x="355" y="0"/>
                    <a:pt x="368" y="13"/>
                    <a:pt x="368" y="28"/>
                  </a:cubicBezTo>
                  <a:lnTo>
                    <a:pt x="36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1" name="Freeform 90"/>
            <p:cNvSpPr>
              <a:spLocks/>
            </p:cNvSpPr>
            <p:nvPr/>
          </p:nvSpPr>
          <p:spPr bwMode="gray">
            <a:xfrm>
              <a:off x="2209" y="2181"/>
              <a:ext cx="387" cy="29"/>
            </a:xfrm>
            <a:custGeom>
              <a:avLst/>
              <a:gdLst>
                <a:gd name="T0" fmla="*/ 159 w 164"/>
                <a:gd name="T1" fmla="*/ 0 h 12"/>
                <a:gd name="T2" fmla="*/ 5 w 164"/>
                <a:gd name="T3" fmla="*/ 0 h 12"/>
                <a:gd name="T4" fmla="*/ 0 w 164"/>
                <a:gd name="T5" fmla="*/ 5 h 12"/>
                <a:gd name="T6" fmla="*/ 0 w 164"/>
                <a:gd name="T7" fmla="*/ 7 h 12"/>
                <a:gd name="T8" fmla="*/ 5 w 164"/>
                <a:gd name="T9" fmla="*/ 12 h 12"/>
                <a:gd name="T10" fmla="*/ 159 w 164"/>
                <a:gd name="T11" fmla="*/ 12 h 12"/>
                <a:gd name="T12" fmla="*/ 164 w 164"/>
                <a:gd name="T13" fmla="*/ 7 h 12"/>
                <a:gd name="T14" fmla="*/ 164 w 164"/>
                <a:gd name="T15" fmla="*/ 5 h 12"/>
                <a:gd name="T16" fmla="*/ 159 w 164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2">
                  <a:moveTo>
                    <a:pt x="15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10"/>
                    <a:pt x="2" y="12"/>
                    <a:pt x="5" y="12"/>
                  </a:cubicBezTo>
                  <a:cubicBezTo>
                    <a:pt x="159" y="12"/>
                    <a:pt x="159" y="12"/>
                    <a:pt x="159" y="12"/>
                  </a:cubicBezTo>
                  <a:cubicBezTo>
                    <a:pt x="162" y="12"/>
                    <a:pt x="164" y="10"/>
                    <a:pt x="164" y="7"/>
                  </a:cubicBezTo>
                  <a:cubicBezTo>
                    <a:pt x="164" y="5"/>
                    <a:pt x="164" y="5"/>
                    <a:pt x="164" y="5"/>
                  </a:cubicBezTo>
                  <a:cubicBezTo>
                    <a:pt x="164" y="2"/>
                    <a:pt x="162" y="0"/>
                    <a:pt x="15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2" name="Freeform 91"/>
            <p:cNvSpPr>
              <a:spLocks/>
            </p:cNvSpPr>
            <p:nvPr/>
          </p:nvSpPr>
          <p:spPr bwMode="gray">
            <a:xfrm>
              <a:off x="2209" y="2276"/>
              <a:ext cx="387" cy="28"/>
            </a:xfrm>
            <a:custGeom>
              <a:avLst/>
              <a:gdLst>
                <a:gd name="T0" fmla="*/ 159 w 164"/>
                <a:gd name="T1" fmla="*/ 0 h 12"/>
                <a:gd name="T2" fmla="*/ 5 w 164"/>
                <a:gd name="T3" fmla="*/ 0 h 12"/>
                <a:gd name="T4" fmla="*/ 0 w 164"/>
                <a:gd name="T5" fmla="*/ 5 h 12"/>
                <a:gd name="T6" fmla="*/ 0 w 164"/>
                <a:gd name="T7" fmla="*/ 7 h 12"/>
                <a:gd name="T8" fmla="*/ 5 w 164"/>
                <a:gd name="T9" fmla="*/ 12 h 12"/>
                <a:gd name="T10" fmla="*/ 159 w 164"/>
                <a:gd name="T11" fmla="*/ 12 h 12"/>
                <a:gd name="T12" fmla="*/ 164 w 164"/>
                <a:gd name="T13" fmla="*/ 7 h 12"/>
                <a:gd name="T14" fmla="*/ 164 w 164"/>
                <a:gd name="T15" fmla="*/ 5 h 12"/>
                <a:gd name="T16" fmla="*/ 159 w 164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2">
                  <a:moveTo>
                    <a:pt x="15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10"/>
                    <a:pt x="2" y="12"/>
                    <a:pt x="5" y="12"/>
                  </a:cubicBezTo>
                  <a:cubicBezTo>
                    <a:pt x="159" y="12"/>
                    <a:pt x="159" y="12"/>
                    <a:pt x="159" y="12"/>
                  </a:cubicBezTo>
                  <a:cubicBezTo>
                    <a:pt x="162" y="12"/>
                    <a:pt x="164" y="10"/>
                    <a:pt x="164" y="7"/>
                  </a:cubicBezTo>
                  <a:cubicBezTo>
                    <a:pt x="164" y="5"/>
                    <a:pt x="164" y="5"/>
                    <a:pt x="164" y="5"/>
                  </a:cubicBezTo>
                  <a:cubicBezTo>
                    <a:pt x="164" y="2"/>
                    <a:pt x="162" y="0"/>
                    <a:pt x="15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3" name="Freeform 92"/>
            <p:cNvSpPr>
              <a:spLocks/>
            </p:cNvSpPr>
            <p:nvPr/>
          </p:nvSpPr>
          <p:spPr bwMode="gray">
            <a:xfrm>
              <a:off x="2209" y="2370"/>
              <a:ext cx="387" cy="29"/>
            </a:xfrm>
            <a:custGeom>
              <a:avLst/>
              <a:gdLst>
                <a:gd name="T0" fmla="*/ 159 w 164"/>
                <a:gd name="T1" fmla="*/ 0 h 12"/>
                <a:gd name="T2" fmla="*/ 5 w 164"/>
                <a:gd name="T3" fmla="*/ 0 h 12"/>
                <a:gd name="T4" fmla="*/ 0 w 164"/>
                <a:gd name="T5" fmla="*/ 5 h 12"/>
                <a:gd name="T6" fmla="*/ 0 w 164"/>
                <a:gd name="T7" fmla="*/ 7 h 12"/>
                <a:gd name="T8" fmla="*/ 5 w 164"/>
                <a:gd name="T9" fmla="*/ 12 h 12"/>
                <a:gd name="T10" fmla="*/ 159 w 164"/>
                <a:gd name="T11" fmla="*/ 12 h 12"/>
                <a:gd name="T12" fmla="*/ 164 w 164"/>
                <a:gd name="T13" fmla="*/ 7 h 12"/>
                <a:gd name="T14" fmla="*/ 164 w 164"/>
                <a:gd name="T15" fmla="*/ 5 h 12"/>
                <a:gd name="T16" fmla="*/ 159 w 164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2">
                  <a:moveTo>
                    <a:pt x="15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10"/>
                    <a:pt x="2" y="12"/>
                    <a:pt x="5" y="12"/>
                  </a:cubicBezTo>
                  <a:cubicBezTo>
                    <a:pt x="159" y="12"/>
                    <a:pt x="159" y="12"/>
                    <a:pt x="159" y="12"/>
                  </a:cubicBezTo>
                  <a:cubicBezTo>
                    <a:pt x="162" y="12"/>
                    <a:pt x="164" y="10"/>
                    <a:pt x="164" y="7"/>
                  </a:cubicBezTo>
                  <a:cubicBezTo>
                    <a:pt x="164" y="5"/>
                    <a:pt x="164" y="5"/>
                    <a:pt x="164" y="5"/>
                  </a:cubicBezTo>
                  <a:cubicBezTo>
                    <a:pt x="164" y="2"/>
                    <a:pt x="162" y="0"/>
                    <a:pt x="15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4" name="Freeform 93"/>
            <p:cNvSpPr>
              <a:spLocks/>
            </p:cNvSpPr>
            <p:nvPr/>
          </p:nvSpPr>
          <p:spPr bwMode="gray">
            <a:xfrm>
              <a:off x="2209" y="2465"/>
              <a:ext cx="387" cy="28"/>
            </a:xfrm>
            <a:custGeom>
              <a:avLst/>
              <a:gdLst>
                <a:gd name="T0" fmla="*/ 159 w 164"/>
                <a:gd name="T1" fmla="*/ 0 h 12"/>
                <a:gd name="T2" fmla="*/ 5 w 164"/>
                <a:gd name="T3" fmla="*/ 0 h 12"/>
                <a:gd name="T4" fmla="*/ 0 w 164"/>
                <a:gd name="T5" fmla="*/ 5 h 12"/>
                <a:gd name="T6" fmla="*/ 0 w 164"/>
                <a:gd name="T7" fmla="*/ 7 h 12"/>
                <a:gd name="T8" fmla="*/ 5 w 164"/>
                <a:gd name="T9" fmla="*/ 12 h 12"/>
                <a:gd name="T10" fmla="*/ 159 w 164"/>
                <a:gd name="T11" fmla="*/ 12 h 12"/>
                <a:gd name="T12" fmla="*/ 164 w 164"/>
                <a:gd name="T13" fmla="*/ 7 h 12"/>
                <a:gd name="T14" fmla="*/ 164 w 164"/>
                <a:gd name="T15" fmla="*/ 5 h 12"/>
                <a:gd name="T16" fmla="*/ 159 w 164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2">
                  <a:moveTo>
                    <a:pt x="15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10"/>
                    <a:pt x="2" y="12"/>
                    <a:pt x="5" y="12"/>
                  </a:cubicBezTo>
                  <a:cubicBezTo>
                    <a:pt x="159" y="12"/>
                    <a:pt x="159" y="12"/>
                    <a:pt x="159" y="12"/>
                  </a:cubicBezTo>
                  <a:cubicBezTo>
                    <a:pt x="162" y="12"/>
                    <a:pt x="164" y="10"/>
                    <a:pt x="164" y="7"/>
                  </a:cubicBezTo>
                  <a:cubicBezTo>
                    <a:pt x="164" y="5"/>
                    <a:pt x="164" y="5"/>
                    <a:pt x="164" y="5"/>
                  </a:cubicBezTo>
                  <a:cubicBezTo>
                    <a:pt x="164" y="2"/>
                    <a:pt x="162" y="0"/>
                    <a:pt x="15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5" name="Freeform 94"/>
            <p:cNvSpPr>
              <a:spLocks/>
            </p:cNvSpPr>
            <p:nvPr/>
          </p:nvSpPr>
          <p:spPr bwMode="gray">
            <a:xfrm>
              <a:off x="2209" y="1671"/>
              <a:ext cx="387" cy="387"/>
            </a:xfrm>
            <a:custGeom>
              <a:avLst/>
              <a:gdLst>
                <a:gd name="T0" fmla="*/ 148 w 164"/>
                <a:gd name="T1" fmla="*/ 0 h 164"/>
                <a:gd name="T2" fmla="*/ 16 w 164"/>
                <a:gd name="T3" fmla="*/ 0 h 164"/>
                <a:gd name="T4" fmla="*/ 0 w 164"/>
                <a:gd name="T5" fmla="*/ 16 h 164"/>
                <a:gd name="T6" fmla="*/ 0 w 164"/>
                <a:gd name="T7" fmla="*/ 148 h 164"/>
                <a:gd name="T8" fmla="*/ 16 w 164"/>
                <a:gd name="T9" fmla="*/ 164 h 164"/>
                <a:gd name="T10" fmla="*/ 20 w 164"/>
                <a:gd name="T11" fmla="*/ 164 h 164"/>
                <a:gd name="T12" fmla="*/ 20 w 164"/>
                <a:gd name="T13" fmla="*/ 130 h 164"/>
                <a:gd name="T14" fmla="*/ 20 w 164"/>
                <a:gd name="T15" fmla="*/ 124 h 164"/>
                <a:gd name="T16" fmla="*/ 26 w 164"/>
                <a:gd name="T17" fmla="*/ 104 h 164"/>
                <a:gd name="T18" fmla="*/ 26 w 164"/>
                <a:gd name="T19" fmla="*/ 104 h 164"/>
                <a:gd name="T20" fmla="*/ 49 w 164"/>
                <a:gd name="T21" fmla="*/ 91 h 164"/>
                <a:gd name="T22" fmla="*/ 55 w 164"/>
                <a:gd name="T23" fmla="*/ 89 h 164"/>
                <a:gd name="T24" fmla="*/ 54 w 164"/>
                <a:gd name="T25" fmla="*/ 87 h 164"/>
                <a:gd name="T26" fmla="*/ 49 w 164"/>
                <a:gd name="T27" fmla="*/ 78 h 164"/>
                <a:gd name="T28" fmla="*/ 47 w 164"/>
                <a:gd name="T29" fmla="*/ 44 h 164"/>
                <a:gd name="T30" fmla="*/ 75 w 164"/>
                <a:gd name="T31" fmla="*/ 20 h 164"/>
                <a:gd name="T32" fmla="*/ 104 w 164"/>
                <a:gd name="T33" fmla="*/ 31 h 164"/>
                <a:gd name="T34" fmla="*/ 111 w 164"/>
                <a:gd name="T35" fmla="*/ 57 h 164"/>
                <a:gd name="T36" fmla="*/ 111 w 164"/>
                <a:gd name="T37" fmla="*/ 58 h 164"/>
                <a:gd name="T38" fmla="*/ 111 w 164"/>
                <a:gd name="T39" fmla="*/ 59 h 164"/>
                <a:gd name="T40" fmla="*/ 103 w 164"/>
                <a:gd name="T41" fmla="*/ 83 h 164"/>
                <a:gd name="T42" fmla="*/ 100 w 164"/>
                <a:gd name="T43" fmla="*/ 90 h 164"/>
                <a:gd name="T44" fmla="*/ 119 w 164"/>
                <a:gd name="T45" fmla="*/ 96 h 164"/>
                <a:gd name="T46" fmla="*/ 131 w 164"/>
                <a:gd name="T47" fmla="*/ 101 h 164"/>
                <a:gd name="T48" fmla="*/ 139 w 164"/>
                <a:gd name="T49" fmla="*/ 113 h 164"/>
                <a:gd name="T50" fmla="*/ 140 w 164"/>
                <a:gd name="T51" fmla="*/ 114 h 164"/>
                <a:gd name="T52" fmla="*/ 140 w 164"/>
                <a:gd name="T53" fmla="*/ 115 h 164"/>
                <a:gd name="T54" fmla="*/ 140 w 164"/>
                <a:gd name="T55" fmla="*/ 116 h 164"/>
                <a:gd name="T56" fmla="*/ 143 w 164"/>
                <a:gd name="T57" fmla="*/ 146 h 164"/>
                <a:gd name="T58" fmla="*/ 144 w 164"/>
                <a:gd name="T59" fmla="*/ 164 h 164"/>
                <a:gd name="T60" fmla="*/ 148 w 164"/>
                <a:gd name="T61" fmla="*/ 164 h 164"/>
                <a:gd name="T62" fmla="*/ 164 w 164"/>
                <a:gd name="T63" fmla="*/ 148 h 164"/>
                <a:gd name="T64" fmla="*/ 164 w 164"/>
                <a:gd name="T65" fmla="*/ 16 h 164"/>
                <a:gd name="T66" fmla="*/ 148 w 164"/>
                <a:gd name="T67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4" h="164">
                  <a:moveTo>
                    <a:pt x="148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7"/>
                    <a:pt x="7" y="164"/>
                    <a:pt x="16" y="164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9" y="155"/>
                    <a:pt x="20" y="144"/>
                    <a:pt x="20" y="130"/>
                  </a:cubicBezTo>
                  <a:cubicBezTo>
                    <a:pt x="20" y="128"/>
                    <a:pt x="20" y="126"/>
                    <a:pt x="20" y="124"/>
                  </a:cubicBezTo>
                  <a:cubicBezTo>
                    <a:pt x="20" y="113"/>
                    <a:pt x="23" y="108"/>
                    <a:pt x="26" y="104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30" y="99"/>
                    <a:pt x="37" y="96"/>
                    <a:pt x="49" y="91"/>
                  </a:cubicBezTo>
                  <a:cubicBezTo>
                    <a:pt x="51" y="91"/>
                    <a:pt x="53" y="90"/>
                    <a:pt x="55" y="89"/>
                  </a:cubicBezTo>
                  <a:cubicBezTo>
                    <a:pt x="55" y="88"/>
                    <a:pt x="54" y="88"/>
                    <a:pt x="54" y="87"/>
                  </a:cubicBezTo>
                  <a:cubicBezTo>
                    <a:pt x="52" y="85"/>
                    <a:pt x="51" y="82"/>
                    <a:pt x="49" y="78"/>
                  </a:cubicBezTo>
                  <a:cubicBezTo>
                    <a:pt x="46" y="69"/>
                    <a:pt x="46" y="49"/>
                    <a:pt x="47" y="44"/>
                  </a:cubicBezTo>
                  <a:cubicBezTo>
                    <a:pt x="49" y="29"/>
                    <a:pt x="60" y="20"/>
                    <a:pt x="75" y="20"/>
                  </a:cubicBezTo>
                  <a:cubicBezTo>
                    <a:pt x="87" y="20"/>
                    <a:pt x="99" y="25"/>
                    <a:pt x="104" y="31"/>
                  </a:cubicBezTo>
                  <a:cubicBezTo>
                    <a:pt x="110" y="40"/>
                    <a:pt x="111" y="55"/>
                    <a:pt x="111" y="57"/>
                  </a:cubicBezTo>
                  <a:cubicBezTo>
                    <a:pt x="111" y="58"/>
                    <a:pt x="111" y="58"/>
                    <a:pt x="111" y="58"/>
                  </a:cubicBezTo>
                  <a:cubicBezTo>
                    <a:pt x="111" y="59"/>
                    <a:pt x="111" y="59"/>
                    <a:pt x="111" y="59"/>
                  </a:cubicBezTo>
                  <a:cubicBezTo>
                    <a:pt x="110" y="63"/>
                    <a:pt x="108" y="77"/>
                    <a:pt x="103" y="83"/>
                  </a:cubicBezTo>
                  <a:cubicBezTo>
                    <a:pt x="102" y="85"/>
                    <a:pt x="101" y="88"/>
                    <a:pt x="100" y="90"/>
                  </a:cubicBezTo>
                  <a:cubicBezTo>
                    <a:pt x="105" y="92"/>
                    <a:pt x="114" y="95"/>
                    <a:pt x="119" y="96"/>
                  </a:cubicBezTo>
                  <a:cubicBezTo>
                    <a:pt x="126" y="98"/>
                    <a:pt x="129" y="99"/>
                    <a:pt x="131" y="101"/>
                  </a:cubicBezTo>
                  <a:cubicBezTo>
                    <a:pt x="138" y="104"/>
                    <a:pt x="139" y="109"/>
                    <a:pt x="139" y="113"/>
                  </a:cubicBezTo>
                  <a:cubicBezTo>
                    <a:pt x="139" y="113"/>
                    <a:pt x="139" y="114"/>
                    <a:pt x="140" y="114"/>
                  </a:cubicBezTo>
                  <a:cubicBezTo>
                    <a:pt x="140" y="115"/>
                    <a:pt x="140" y="115"/>
                    <a:pt x="140" y="115"/>
                  </a:cubicBezTo>
                  <a:cubicBezTo>
                    <a:pt x="140" y="116"/>
                    <a:pt x="140" y="116"/>
                    <a:pt x="140" y="116"/>
                  </a:cubicBezTo>
                  <a:cubicBezTo>
                    <a:pt x="140" y="116"/>
                    <a:pt x="142" y="139"/>
                    <a:pt x="143" y="146"/>
                  </a:cubicBezTo>
                  <a:cubicBezTo>
                    <a:pt x="143" y="150"/>
                    <a:pt x="143" y="157"/>
                    <a:pt x="144" y="164"/>
                  </a:cubicBezTo>
                  <a:cubicBezTo>
                    <a:pt x="148" y="164"/>
                    <a:pt x="148" y="164"/>
                    <a:pt x="148" y="164"/>
                  </a:cubicBezTo>
                  <a:cubicBezTo>
                    <a:pt x="157" y="164"/>
                    <a:pt x="164" y="157"/>
                    <a:pt x="164" y="148"/>
                  </a:cubicBezTo>
                  <a:cubicBezTo>
                    <a:pt x="164" y="16"/>
                    <a:pt x="164" y="16"/>
                    <a:pt x="164" y="16"/>
                  </a:cubicBezTo>
                  <a:cubicBezTo>
                    <a:pt x="164" y="7"/>
                    <a:pt x="157" y="0"/>
                    <a:pt x="14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6" name="Freeform 95"/>
            <p:cNvSpPr>
              <a:spLocks/>
            </p:cNvSpPr>
            <p:nvPr/>
          </p:nvSpPr>
          <p:spPr bwMode="gray">
            <a:xfrm>
              <a:off x="2272" y="1737"/>
              <a:ext cx="258" cy="321"/>
            </a:xfrm>
            <a:custGeom>
              <a:avLst/>
              <a:gdLst>
                <a:gd name="T0" fmla="*/ 105 w 109"/>
                <a:gd name="T1" fmla="*/ 89 h 136"/>
                <a:gd name="T2" fmla="*/ 100 w 109"/>
                <a:gd name="T3" fmla="*/ 80 h 136"/>
                <a:gd name="T4" fmla="*/ 65 w 109"/>
                <a:gd name="T5" fmla="*/ 66 h 136"/>
                <a:gd name="T6" fmla="*/ 70 w 109"/>
                <a:gd name="T7" fmla="*/ 50 h 136"/>
                <a:gd name="T8" fmla="*/ 76 w 109"/>
                <a:gd name="T9" fmla="*/ 29 h 136"/>
                <a:gd name="T10" fmla="*/ 70 w 109"/>
                <a:gd name="T11" fmla="*/ 8 h 136"/>
                <a:gd name="T12" fmla="*/ 48 w 109"/>
                <a:gd name="T13" fmla="*/ 0 h 136"/>
                <a:gd name="T14" fmla="*/ 28 w 109"/>
                <a:gd name="T15" fmla="*/ 17 h 136"/>
                <a:gd name="T16" fmla="*/ 30 w 109"/>
                <a:gd name="T17" fmla="*/ 48 h 136"/>
                <a:gd name="T18" fmla="*/ 37 w 109"/>
                <a:gd name="T19" fmla="*/ 66 h 136"/>
                <a:gd name="T20" fmla="*/ 6 w 109"/>
                <a:gd name="T21" fmla="*/ 81 h 136"/>
                <a:gd name="T22" fmla="*/ 1 w 109"/>
                <a:gd name="T23" fmla="*/ 96 h 136"/>
                <a:gd name="T24" fmla="*/ 1 w 109"/>
                <a:gd name="T25" fmla="*/ 136 h 136"/>
                <a:gd name="T26" fmla="*/ 109 w 109"/>
                <a:gd name="T27" fmla="*/ 136 h 136"/>
                <a:gd name="T28" fmla="*/ 108 w 109"/>
                <a:gd name="T29" fmla="*/ 119 h 136"/>
                <a:gd name="T30" fmla="*/ 105 w 109"/>
                <a:gd name="T31" fmla="*/ 89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9" h="136">
                  <a:moveTo>
                    <a:pt x="105" y="89"/>
                  </a:moveTo>
                  <a:cubicBezTo>
                    <a:pt x="104" y="84"/>
                    <a:pt x="105" y="82"/>
                    <a:pt x="100" y="80"/>
                  </a:cubicBezTo>
                  <a:cubicBezTo>
                    <a:pt x="97" y="77"/>
                    <a:pt x="69" y="70"/>
                    <a:pt x="65" y="66"/>
                  </a:cubicBezTo>
                  <a:cubicBezTo>
                    <a:pt x="64" y="64"/>
                    <a:pt x="66" y="55"/>
                    <a:pt x="70" y="50"/>
                  </a:cubicBezTo>
                  <a:cubicBezTo>
                    <a:pt x="74" y="45"/>
                    <a:pt x="76" y="29"/>
                    <a:pt x="76" y="29"/>
                  </a:cubicBezTo>
                  <a:cubicBezTo>
                    <a:pt x="76" y="29"/>
                    <a:pt x="75" y="15"/>
                    <a:pt x="70" y="8"/>
                  </a:cubicBezTo>
                  <a:cubicBezTo>
                    <a:pt x="68" y="4"/>
                    <a:pt x="58" y="0"/>
                    <a:pt x="48" y="0"/>
                  </a:cubicBezTo>
                  <a:cubicBezTo>
                    <a:pt x="39" y="0"/>
                    <a:pt x="30" y="4"/>
                    <a:pt x="28" y="17"/>
                  </a:cubicBezTo>
                  <a:cubicBezTo>
                    <a:pt x="27" y="22"/>
                    <a:pt x="27" y="40"/>
                    <a:pt x="30" y="48"/>
                  </a:cubicBezTo>
                  <a:cubicBezTo>
                    <a:pt x="32" y="55"/>
                    <a:pt x="37" y="57"/>
                    <a:pt x="37" y="66"/>
                  </a:cubicBezTo>
                  <a:cubicBezTo>
                    <a:pt x="32" y="69"/>
                    <a:pt x="9" y="76"/>
                    <a:pt x="6" y="81"/>
                  </a:cubicBezTo>
                  <a:cubicBezTo>
                    <a:pt x="4" y="82"/>
                    <a:pt x="1" y="85"/>
                    <a:pt x="1" y="96"/>
                  </a:cubicBezTo>
                  <a:cubicBezTo>
                    <a:pt x="1" y="107"/>
                    <a:pt x="0" y="123"/>
                    <a:pt x="1" y="136"/>
                  </a:cubicBezTo>
                  <a:cubicBezTo>
                    <a:pt x="109" y="136"/>
                    <a:pt x="109" y="136"/>
                    <a:pt x="109" y="136"/>
                  </a:cubicBezTo>
                  <a:cubicBezTo>
                    <a:pt x="108" y="129"/>
                    <a:pt x="108" y="123"/>
                    <a:pt x="108" y="119"/>
                  </a:cubicBezTo>
                  <a:cubicBezTo>
                    <a:pt x="107" y="112"/>
                    <a:pt x="105" y="89"/>
                    <a:pt x="105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7" name="Freeform 96"/>
            <p:cNvSpPr>
              <a:spLocks/>
            </p:cNvSpPr>
            <p:nvPr/>
          </p:nvSpPr>
          <p:spPr bwMode="gray">
            <a:xfrm>
              <a:off x="1944" y="2720"/>
              <a:ext cx="1871" cy="76"/>
            </a:xfrm>
            <a:custGeom>
              <a:avLst/>
              <a:gdLst>
                <a:gd name="T0" fmla="*/ 777 w 792"/>
                <a:gd name="T1" fmla="*/ 0 h 32"/>
                <a:gd name="T2" fmla="*/ 15 w 792"/>
                <a:gd name="T3" fmla="*/ 0 h 32"/>
                <a:gd name="T4" fmla="*/ 0 w 792"/>
                <a:gd name="T5" fmla="*/ 16 h 32"/>
                <a:gd name="T6" fmla="*/ 15 w 792"/>
                <a:gd name="T7" fmla="*/ 32 h 32"/>
                <a:gd name="T8" fmla="*/ 777 w 792"/>
                <a:gd name="T9" fmla="*/ 32 h 32"/>
                <a:gd name="T10" fmla="*/ 792 w 792"/>
                <a:gd name="T11" fmla="*/ 16 h 32"/>
                <a:gd name="T12" fmla="*/ 777 w 792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2" h="32">
                  <a:moveTo>
                    <a:pt x="7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2"/>
                    <a:pt x="15" y="32"/>
                  </a:cubicBezTo>
                  <a:cubicBezTo>
                    <a:pt x="777" y="32"/>
                    <a:pt x="777" y="32"/>
                    <a:pt x="777" y="32"/>
                  </a:cubicBezTo>
                  <a:cubicBezTo>
                    <a:pt x="785" y="32"/>
                    <a:pt x="792" y="25"/>
                    <a:pt x="792" y="16"/>
                  </a:cubicBezTo>
                  <a:cubicBezTo>
                    <a:pt x="792" y="7"/>
                    <a:pt x="785" y="0"/>
                    <a:pt x="7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pic>
        <p:nvPicPr>
          <p:cNvPr id="78" name="Picture 8" descr="data.png"/>
          <p:cNvPicPr>
            <a:picLocks noChangeAspect="1"/>
          </p:cNvPicPr>
          <p:nvPr userDrawn="1"/>
        </p:nvPicPr>
        <p:blipFill>
          <a:blip r:embed="rId3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2975" y="345506"/>
            <a:ext cx="1809846" cy="1109954"/>
          </a:xfrm>
          <a:prstGeom prst="rect">
            <a:avLst/>
          </a:prstGeom>
        </p:spPr>
      </p:pic>
      <p:grpSp>
        <p:nvGrpSpPr>
          <p:cNvPr id="79" name="Group 80"/>
          <p:cNvGrpSpPr/>
          <p:nvPr userDrawn="1"/>
        </p:nvGrpSpPr>
        <p:grpSpPr bwMode="gray">
          <a:xfrm>
            <a:off x="6023882" y="1837055"/>
            <a:ext cx="1113108" cy="970579"/>
            <a:chOff x="4302601" y="4035177"/>
            <a:chExt cx="617843" cy="602618"/>
          </a:xfrm>
        </p:grpSpPr>
        <p:sp>
          <p:nvSpPr>
            <p:cNvPr id="80" name="Line 28"/>
            <p:cNvSpPr>
              <a:spLocks noChangeShapeType="1"/>
            </p:cNvSpPr>
            <p:nvPr/>
          </p:nvSpPr>
          <p:spPr bwMode="gray">
            <a:xfrm flipH="1">
              <a:off x="4764398" y="4107491"/>
              <a:ext cx="53284" cy="62165"/>
            </a:xfrm>
            <a:prstGeom prst="line">
              <a:avLst/>
            </a:prstGeom>
            <a:solidFill>
              <a:schemeClr val="accent1"/>
            </a:solidFill>
            <a:ln w="30163" cap="rnd">
              <a:solidFill>
                <a:schemeClr val="accent1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81" name="Line 29"/>
            <p:cNvSpPr>
              <a:spLocks noChangeShapeType="1"/>
            </p:cNvSpPr>
            <p:nvPr/>
          </p:nvSpPr>
          <p:spPr bwMode="gray">
            <a:xfrm>
              <a:off x="4377453" y="4107491"/>
              <a:ext cx="54553" cy="62165"/>
            </a:xfrm>
            <a:prstGeom prst="line">
              <a:avLst/>
            </a:prstGeom>
            <a:solidFill>
              <a:schemeClr val="accent1"/>
            </a:solidFill>
            <a:ln w="30163" cap="rnd">
              <a:solidFill>
                <a:schemeClr val="accent1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82" name="Line 30"/>
            <p:cNvSpPr>
              <a:spLocks noChangeShapeType="1"/>
            </p:cNvSpPr>
            <p:nvPr/>
          </p:nvSpPr>
          <p:spPr bwMode="gray">
            <a:xfrm flipV="1">
              <a:off x="4302601" y="4334583"/>
              <a:ext cx="81195" cy="15224"/>
            </a:xfrm>
            <a:prstGeom prst="line">
              <a:avLst/>
            </a:prstGeom>
            <a:solidFill>
              <a:schemeClr val="accent1"/>
            </a:solidFill>
            <a:ln w="30163" cap="rnd">
              <a:solidFill>
                <a:schemeClr val="accent1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83" name="Line 31"/>
            <p:cNvSpPr>
              <a:spLocks noChangeShapeType="1"/>
            </p:cNvSpPr>
            <p:nvPr/>
          </p:nvSpPr>
          <p:spPr bwMode="gray">
            <a:xfrm flipH="1" flipV="1">
              <a:off x="4836712" y="4334583"/>
              <a:ext cx="83732" cy="15224"/>
            </a:xfrm>
            <a:prstGeom prst="line">
              <a:avLst/>
            </a:prstGeom>
            <a:solidFill>
              <a:schemeClr val="accent1"/>
            </a:solidFill>
            <a:ln w="30163" cap="rnd">
              <a:solidFill>
                <a:schemeClr val="accent1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84" name="Line 38"/>
            <p:cNvSpPr>
              <a:spLocks noChangeShapeType="1"/>
            </p:cNvSpPr>
            <p:nvPr/>
          </p:nvSpPr>
          <p:spPr bwMode="gray">
            <a:xfrm>
              <a:off x="4599471" y="4035177"/>
              <a:ext cx="0" cy="81195"/>
            </a:xfrm>
            <a:prstGeom prst="line">
              <a:avLst/>
            </a:prstGeom>
            <a:solidFill>
              <a:schemeClr val="accent1"/>
            </a:solidFill>
            <a:ln w="30163" cap="rnd">
              <a:solidFill>
                <a:schemeClr val="accent1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85" name="Freeform 40"/>
            <p:cNvSpPr>
              <a:spLocks/>
            </p:cNvSpPr>
            <p:nvPr/>
          </p:nvSpPr>
          <p:spPr bwMode="gray">
            <a:xfrm>
              <a:off x="4428200" y="4167118"/>
              <a:ext cx="345079" cy="374257"/>
            </a:xfrm>
            <a:custGeom>
              <a:avLst/>
              <a:gdLst>
                <a:gd name="T0" fmla="*/ 88 w 115"/>
                <a:gd name="T1" fmla="*/ 125 h 125"/>
                <a:gd name="T2" fmla="*/ 28 w 115"/>
                <a:gd name="T3" fmla="*/ 125 h 125"/>
                <a:gd name="T4" fmla="*/ 2 w 115"/>
                <a:gd name="T5" fmla="*/ 62 h 125"/>
                <a:gd name="T6" fmla="*/ 16 w 115"/>
                <a:gd name="T7" fmla="*/ 20 h 125"/>
                <a:gd name="T8" fmla="*/ 55 w 115"/>
                <a:gd name="T9" fmla="*/ 1 h 125"/>
                <a:gd name="T10" fmla="*/ 97 w 115"/>
                <a:gd name="T11" fmla="*/ 18 h 125"/>
                <a:gd name="T12" fmla="*/ 114 w 115"/>
                <a:gd name="T13" fmla="*/ 60 h 125"/>
                <a:gd name="T14" fmla="*/ 88 w 115"/>
                <a:gd name="T15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5" h="125">
                  <a:moveTo>
                    <a:pt x="88" y="125"/>
                  </a:moveTo>
                  <a:cubicBezTo>
                    <a:pt x="86" y="125"/>
                    <a:pt x="31" y="125"/>
                    <a:pt x="28" y="125"/>
                  </a:cubicBezTo>
                  <a:cubicBezTo>
                    <a:pt x="28" y="97"/>
                    <a:pt x="4" y="87"/>
                    <a:pt x="2" y="62"/>
                  </a:cubicBezTo>
                  <a:cubicBezTo>
                    <a:pt x="0" y="44"/>
                    <a:pt x="7" y="29"/>
                    <a:pt x="16" y="20"/>
                  </a:cubicBezTo>
                  <a:cubicBezTo>
                    <a:pt x="25" y="10"/>
                    <a:pt x="38" y="2"/>
                    <a:pt x="55" y="1"/>
                  </a:cubicBezTo>
                  <a:cubicBezTo>
                    <a:pt x="74" y="0"/>
                    <a:pt x="88" y="8"/>
                    <a:pt x="97" y="18"/>
                  </a:cubicBezTo>
                  <a:cubicBezTo>
                    <a:pt x="107" y="27"/>
                    <a:pt x="115" y="41"/>
                    <a:pt x="114" y="60"/>
                  </a:cubicBezTo>
                  <a:cubicBezTo>
                    <a:pt x="112" y="86"/>
                    <a:pt x="88" y="96"/>
                    <a:pt x="88" y="12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86" name="Freeform 41"/>
            <p:cNvSpPr>
              <a:spLocks/>
            </p:cNvSpPr>
            <p:nvPr/>
          </p:nvSpPr>
          <p:spPr bwMode="gray">
            <a:xfrm>
              <a:off x="4513201" y="4556600"/>
              <a:ext cx="178883" cy="81195"/>
            </a:xfrm>
            <a:custGeom>
              <a:avLst/>
              <a:gdLst>
                <a:gd name="T0" fmla="*/ 56 w 60"/>
                <a:gd name="T1" fmla="*/ 0 h 27"/>
                <a:gd name="T2" fmla="*/ 3 w 60"/>
                <a:gd name="T3" fmla="*/ 0 h 27"/>
                <a:gd name="T4" fmla="*/ 0 w 60"/>
                <a:gd name="T5" fmla="*/ 0 h 27"/>
                <a:gd name="T6" fmla="*/ 0 w 60"/>
                <a:gd name="T7" fmla="*/ 1 h 27"/>
                <a:gd name="T8" fmla="*/ 0 w 60"/>
                <a:gd name="T9" fmla="*/ 4 h 27"/>
                <a:gd name="T10" fmla="*/ 0 w 60"/>
                <a:gd name="T11" fmla="*/ 7 h 27"/>
                <a:gd name="T12" fmla="*/ 0 w 60"/>
                <a:gd name="T13" fmla="*/ 10 h 27"/>
                <a:gd name="T14" fmla="*/ 3 w 60"/>
                <a:gd name="T15" fmla="*/ 13 h 27"/>
                <a:gd name="T16" fmla="*/ 16 w 60"/>
                <a:gd name="T17" fmla="*/ 13 h 27"/>
                <a:gd name="T18" fmla="*/ 30 w 60"/>
                <a:gd name="T19" fmla="*/ 27 h 27"/>
                <a:gd name="T20" fmla="*/ 44 w 60"/>
                <a:gd name="T21" fmla="*/ 13 h 27"/>
                <a:gd name="T22" fmla="*/ 56 w 60"/>
                <a:gd name="T23" fmla="*/ 13 h 27"/>
                <a:gd name="T24" fmla="*/ 60 w 60"/>
                <a:gd name="T25" fmla="*/ 10 h 27"/>
                <a:gd name="T26" fmla="*/ 60 w 60"/>
                <a:gd name="T27" fmla="*/ 7 h 27"/>
                <a:gd name="T28" fmla="*/ 60 w 60"/>
                <a:gd name="T29" fmla="*/ 4 h 27"/>
                <a:gd name="T30" fmla="*/ 60 w 60"/>
                <a:gd name="T31" fmla="*/ 0 h 27"/>
                <a:gd name="T32" fmla="*/ 56 w 60"/>
                <a:gd name="T3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27">
                  <a:moveTo>
                    <a:pt x="56" y="0"/>
                  </a:moveTo>
                  <a:cubicBezTo>
                    <a:pt x="39" y="0"/>
                    <a:pt x="21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1" y="13"/>
                    <a:pt x="3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21"/>
                    <a:pt x="22" y="27"/>
                    <a:pt x="30" y="27"/>
                  </a:cubicBezTo>
                  <a:cubicBezTo>
                    <a:pt x="37" y="27"/>
                    <a:pt x="43" y="21"/>
                    <a:pt x="44" y="13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8" y="13"/>
                    <a:pt x="60" y="12"/>
                    <a:pt x="60" y="10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4"/>
                    <a:pt x="60" y="4"/>
                    <a:pt x="60" y="4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9" y="0"/>
                    <a:pt x="57" y="0"/>
                    <a:pt x="5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87" name="Freeform 42"/>
            <p:cNvSpPr>
              <a:spLocks noEditPoints="1"/>
            </p:cNvSpPr>
            <p:nvPr/>
          </p:nvSpPr>
          <p:spPr bwMode="gray">
            <a:xfrm>
              <a:off x="4530962" y="4307941"/>
              <a:ext cx="53284" cy="53284"/>
            </a:xfrm>
            <a:custGeom>
              <a:avLst/>
              <a:gdLst>
                <a:gd name="T0" fmla="*/ 9 w 18"/>
                <a:gd name="T1" fmla="*/ 18 h 18"/>
                <a:gd name="T2" fmla="*/ 0 w 18"/>
                <a:gd name="T3" fmla="*/ 9 h 18"/>
                <a:gd name="T4" fmla="*/ 9 w 18"/>
                <a:gd name="T5" fmla="*/ 0 h 18"/>
                <a:gd name="T6" fmla="*/ 18 w 18"/>
                <a:gd name="T7" fmla="*/ 9 h 18"/>
                <a:gd name="T8" fmla="*/ 9 w 18"/>
                <a:gd name="T9" fmla="*/ 18 h 18"/>
                <a:gd name="T10" fmla="*/ 9 w 18"/>
                <a:gd name="T11" fmla="*/ 3 h 18"/>
                <a:gd name="T12" fmla="*/ 2 w 18"/>
                <a:gd name="T13" fmla="*/ 9 h 18"/>
                <a:gd name="T14" fmla="*/ 9 w 18"/>
                <a:gd name="T15" fmla="*/ 16 h 18"/>
                <a:gd name="T16" fmla="*/ 16 w 18"/>
                <a:gd name="T17" fmla="*/ 9 h 18"/>
                <a:gd name="T18" fmla="*/ 9 w 18"/>
                <a:gd name="T1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9" y="18"/>
                  </a:move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14"/>
                    <a:pt x="14" y="18"/>
                    <a:pt x="9" y="18"/>
                  </a:cubicBezTo>
                  <a:close/>
                  <a:moveTo>
                    <a:pt x="9" y="3"/>
                  </a:moveTo>
                  <a:cubicBezTo>
                    <a:pt x="5" y="3"/>
                    <a:pt x="2" y="5"/>
                    <a:pt x="2" y="9"/>
                  </a:cubicBezTo>
                  <a:cubicBezTo>
                    <a:pt x="2" y="13"/>
                    <a:pt x="5" y="16"/>
                    <a:pt x="9" y="16"/>
                  </a:cubicBezTo>
                  <a:cubicBezTo>
                    <a:pt x="13" y="16"/>
                    <a:pt x="16" y="13"/>
                    <a:pt x="16" y="9"/>
                  </a:cubicBezTo>
                  <a:cubicBezTo>
                    <a:pt x="16" y="5"/>
                    <a:pt x="13" y="3"/>
                    <a:pt x="9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88" name="Freeform 43"/>
            <p:cNvSpPr>
              <a:spLocks noEditPoints="1"/>
            </p:cNvSpPr>
            <p:nvPr/>
          </p:nvSpPr>
          <p:spPr bwMode="gray">
            <a:xfrm>
              <a:off x="4560142" y="4307941"/>
              <a:ext cx="54553" cy="53284"/>
            </a:xfrm>
            <a:custGeom>
              <a:avLst/>
              <a:gdLst>
                <a:gd name="T0" fmla="*/ 9 w 18"/>
                <a:gd name="T1" fmla="*/ 18 h 18"/>
                <a:gd name="T2" fmla="*/ 0 w 18"/>
                <a:gd name="T3" fmla="*/ 9 h 18"/>
                <a:gd name="T4" fmla="*/ 9 w 18"/>
                <a:gd name="T5" fmla="*/ 0 h 18"/>
                <a:gd name="T6" fmla="*/ 18 w 18"/>
                <a:gd name="T7" fmla="*/ 9 h 18"/>
                <a:gd name="T8" fmla="*/ 9 w 18"/>
                <a:gd name="T9" fmla="*/ 18 h 18"/>
                <a:gd name="T10" fmla="*/ 9 w 18"/>
                <a:gd name="T11" fmla="*/ 3 h 18"/>
                <a:gd name="T12" fmla="*/ 2 w 18"/>
                <a:gd name="T13" fmla="*/ 9 h 18"/>
                <a:gd name="T14" fmla="*/ 9 w 18"/>
                <a:gd name="T15" fmla="*/ 16 h 18"/>
                <a:gd name="T16" fmla="*/ 16 w 18"/>
                <a:gd name="T17" fmla="*/ 9 h 18"/>
                <a:gd name="T18" fmla="*/ 9 w 18"/>
                <a:gd name="T1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9" y="18"/>
                  </a:move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14"/>
                    <a:pt x="14" y="18"/>
                    <a:pt x="9" y="18"/>
                  </a:cubicBezTo>
                  <a:close/>
                  <a:moveTo>
                    <a:pt x="9" y="3"/>
                  </a:moveTo>
                  <a:cubicBezTo>
                    <a:pt x="5" y="3"/>
                    <a:pt x="2" y="5"/>
                    <a:pt x="2" y="9"/>
                  </a:cubicBezTo>
                  <a:cubicBezTo>
                    <a:pt x="2" y="13"/>
                    <a:pt x="5" y="16"/>
                    <a:pt x="9" y="16"/>
                  </a:cubicBezTo>
                  <a:cubicBezTo>
                    <a:pt x="13" y="16"/>
                    <a:pt x="16" y="13"/>
                    <a:pt x="16" y="9"/>
                  </a:cubicBezTo>
                  <a:cubicBezTo>
                    <a:pt x="16" y="5"/>
                    <a:pt x="13" y="3"/>
                    <a:pt x="9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89" name="Freeform 44"/>
            <p:cNvSpPr>
              <a:spLocks noEditPoints="1"/>
            </p:cNvSpPr>
            <p:nvPr/>
          </p:nvSpPr>
          <p:spPr bwMode="gray">
            <a:xfrm>
              <a:off x="4590590" y="4307941"/>
              <a:ext cx="53284" cy="53284"/>
            </a:xfrm>
            <a:custGeom>
              <a:avLst/>
              <a:gdLst>
                <a:gd name="T0" fmla="*/ 9 w 18"/>
                <a:gd name="T1" fmla="*/ 18 h 18"/>
                <a:gd name="T2" fmla="*/ 0 w 18"/>
                <a:gd name="T3" fmla="*/ 9 h 18"/>
                <a:gd name="T4" fmla="*/ 9 w 18"/>
                <a:gd name="T5" fmla="*/ 0 h 18"/>
                <a:gd name="T6" fmla="*/ 18 w 18"/>
                <a:gd name="T7" fmla="*/ 9 h 18"/>
                <a:gd name="T8" fmla="*/ 9 w 18"/>
                <a:gd name="T9" fmla="*/ 18 h 18"/>
                <a:gd name="T10" fmla="*/ 9 w 18"/>
                <a:gd name="T11" fmla="*/ 3 h 18"/>
                <a:gd name="T12" fmla="*/ 3 w 18"/>
                <a:gd name="T13" fmla="*/ 9 h 18"/>
                <a:gd name="T14" fmla="*/ 9 w 18"/>
                <a:gd name="T15" fmla="*/ 16 h 18"/>
                <a:gd name="T16" fmla="*/ 15 w 18"/>
                <a:gd name="T17" fmla="*/ 9 h 18"/>
                <a:gd name="T18" fmla="*/ 9 w 18"/>
                <a:gd name="T1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9" y="18"/>
                  </a:move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14"/>
                    <a:pt x="14" y="18"/>
                    <a:pt x="9" y="18"/>
                  </a:cubicBezTo>
                  <a:close/>
                  <a:moveTo>
                    <a:pt x="9" y="3"/>
                  </a:moveTo>
                  <a:cubicBezTo>
                    <a:pt x="5" y="3"/>
                    <a:pt x="3" y="5"/>
                    <a:pt x="3" y="9"/>
                  </a:cubicBezTo>
                  <a:cubicBezTo>
                    <a:pt x="3" y="13"/>
                    <a:pt x="5" y="16"/>
                    <a:pt x="9" y="16"/>
                  </a:cubicBezTo>
                  <a:cubicBezTo>
                    <a:pt x="13" y="16"/>
                    <a:pt x="15" y="13"/>
                    <a:pt x="15" y="9"/>
                  </a:cubicBezTo>
                  <a:cubicBezTo>
                    <a:pt x="15" y="5"/>
                    <a:pt x="13" y="3"/>
                    <a:pt x="9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90" name="Freeform 45"/>
            <p:cNvSpPr>
              <a:spLocks noEditPoints="1"/>
            </p:cNvSpPr>
            <p:nvPr/>
          </p:nvSpPr>
          <p:spPr bwMode="gray">
            <a:xfrm>
              <a:off x="4621038" y="4307941"/>
              <a:ext cx="50747" cy="53284"/>
            </a:xfrm>
            <a:custGeom>
              <a:avLst/>
              <a:gdLst>
                <a:gd name="T0" fmla="*/ 9 w 17"/>
                <a:gd name="T1" fmla="*/ 18 h 18"/>
                <a:gd name="T2" fmla="*/ 0 w 17"/>
                <a:gd name="T3" fmla="*/ 9 h 18"/>
                <a:gd name="T4" fmla="*/ 9 w 17"/>
                <a:gd name="T5" fmla="*/ 0 h 18"/>
                <a:gd name="T6" fmla="*/ 17 w 17"/>
                <a:gd name="T7" fmla="*/ 9 h 18"/>
                <a:gd name="T8" fmla="*/ 9 w 17"/>
                <a:gd name="T9" fmla="*/ 18 h 18"/>
                <a:gd name="T10" fmla="*/ 9 w 17"/>
                <a:gd name="T11" fmla="*/ 3 h 18"/>
                <a:gd name="T12" fmla="*/ 2 w 17"/>
                <a:gd name="T13" fmla="*/ 9 h 18"/>
                <a:gd name="T14" fmla="*/ 9 w 17"/>
                <a:gd name="T15" fmla="*/ 16 h 18"/>
                <a:gd name="T16" fmla="*/ 15 w 17"/>
                <a:gd name="T17" fmla="*/ 9 h 18"/>
                <a:gd name="T18" fmla="*/ 9 w 17"/>
                <a:gd name="T1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18">
                  <a:moveTo>
                    <a:pt x="9" y="18"/>
                  </a:move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3" y="0"/>
                    <a:pt x="17" y="4"/>
                    <a:pt x="17" y="9"/>
                  </a:cubicBezTo>
                  <a:cubicBezTo>
                    <a:pt x="17" y="14"/>
                    <a:pt x="13" y="18"/>
                    <a:pt x="9" y="18"/>
                  </a:cubicBezTo>
                  <a:close/>
                  <a:moveTo>
                    <a:pt x="9" y="3"/>
                  </a:moveTo>
                  <a:cubicBezTo>
                    <a:pt x="5" y="3"/>
                    <a:pt x="2" y="5"/>
                    <a:pt x="2" y="9"/>
                  </a:cubicBezTo>
                  <a:cubicBezTo>
                    <a:pt x="2" y="13"/>
                    <a:pt x="5" y="16"/>
                    <a:pt x="9" y="16"/>
                  </a:cubicBezTo>
                  <a:cubicBezTo>
                    <a:pt x="12" y="16"/>
                    <a:pt x="15" y="13"/>
                    <a:pt x="15" y="9"/>
                  </a:cubicBezTo>
                  <a:cubicBezTo>
                    <a:pt x="15" y="5"/>
                    <a:pt x="12" y="3"/>
                    <a:pt x="9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91" name="Freeform 46"/>
            <p:cNvSpPr>
              <a:spLocks/>
            </p:cNvSpPr>
            <p:nvPr/>
          </p:nvSpPr>
          <p:spPr bwMode="gray">
            <a:xfrm>
              <a:off x="4503052" y="4343463"/>
              <a:ext cx="87538" cy="210599"/>
            </a:xfrm>
            <a:custGeom>
              <a:avLst/>
              <a:gdLst>
                <a:gd name="T0" fmla="*/ 14 w 29"/>
                <a:gd name="T1" fmla="*/ 27 h 70"/>
                <a:gd name="T2" fmla="*/ 4 w 29"/>
                <a:gd name="T3" fmla="*/ 4 h 70"/>
                <a:gd name="T4" fmla="*/ 12 w 29"/>
                <a:gd name="T5" fmla="*/ 4 h 70"/>
                <a:gd name="T6" fmla="*/ 14 w 29"/>
                <a:gd name="T7" fmla="*/ 2 h 70"/>
                <a:gd name="T8" fmla="*/ 12 w 29"/>
                <a:gd name="T9" fmla="*/ 0 h 70"/>
                <a:gd name="T10" fmla="*/ 0 w 29"/>
                <a:gd name="T11" fmla="*/ 0 h 70"/>
                <a:gd name="T12" fmla="*/ 0 w 29"/>
                <a:gd name="T13" fmla="*/ 2 h 70"/>
                <a:gd name="T14" fmla="*/ 11 w 29"/>
                <a:gd name="T15" fmla="*/ 29 h 70"/>
                <a:gd name="T16" fmla="*/ 25 w 29"/>
                <a:gd name="T17" fmla="*/ 70 h 70"/>
                <a:gd name="T18" fmla="*/ 25 w 29"/>
                <a:gd name="T19" fmla="*/ 70 h 70"/>
                <a:gd name="T20" fmla="*/ 29 w 29"/>
                <a:gd name="T21" fmla="*/ 70 h 70"/>
                <a:gd name="T22" fmla="*/ 14 w 29"/>
                <a:gd name="T23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70">
                  <a:moveTo>
                    <a:pt x="14" y="27"/>
                  </a:moveTo>
                  <a:cubicBezTo>
                    <a:pt x="7" y="16"/>
                    <a:pt x="5" y="8"/>
                    <a:pt x="4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3" y="4"/>
                    <a:pt x="14" y="3"/>
                    <a:pt x="14" y="2"/>
                  </a:cubicBezTo>
                  <a:cubicBezTo>
                    <a:pt x="14" y="1"/>
                    <a:pt x="13" y="0"/>
                    <a:pt x="1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4"/>
                    <a:pt x="11" y="29"/>
                  </a:cubicBezTo>
                  <a:cubicBezTo>
                    <a:pt x="24" y="47"/>
                    <a:pt x="25" y="66"/>
                    <a:pt x="25" y="70"/>
                  </a:cubicBezTo>
                  <a:cubicBezTo>
                    <a:pt x="25" y="70"/>
                    <a:pt x="25" y="70"/>
                    <a:pt x="25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66"/>
                    <a:pt x="28" y="45"/>
                    <a:pt x="14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  <p:sp>
          <p:nvSpPr>
            <p:cNvPr id="92" name="Freeform 47"/>
            <p:cNvSpPr>
              <a:spLocks/>
            </p:cNvSpPr>
            <p:nvPr/>
          </p:nvSpPr>
          <p:spPr bwMode="gray">
            <a:xfrm>
              <a:off x="4614695" y="4343463"/>
              <a:ext cx="86270" cy="210599"/>
            </a:xfrm>
            <a:custGeom>
              <a:avLst/>
              <a:gdLst>
                <a:gd name="T0" fmla="*/ 17 w 29"/>
                <a:gd name="T1" fmla="*/ 0 h 70"/>
                <a:gd name="T2" fmla="*/ 15 w 29"/>
                <a:gd name="T3" fmla="*/ 2 h 70"/>
                <a:gd name="T4" fmla="*/ 17 w 29"/>
                <a:gd name="T5" fmla="*/ 4 h 70"/>
                <a:gd name="T6" fmla="*/ 25 w 29"/>
                <a:gd name="T7" fmla="*/ 4 h 70"/>
                <a:gd name="T8" fmla="*/ 14 w 29"/>
                <a:gd name="T9" fmla="*/ 27 h 70"/>
                <a:gd name="T10" fmla="*/ 0 w 29"/>
                <a:gd name="T11" fmla="*/ 70 h 70"/>
                <a:gd name="T12" fmla="*/ 4 w 29"/>
                <a:gd name="T13" fmla="*/ 70 h 70"/>
                <a:gd name="T14" fmla="*/ 4 w 29"/>
                <a:gd name="T15" fmla="*/ 70 h 70"/>
                <a:gd name="T16" fmla="*/ 17 w 29"/>
                <a:gd name="T17" fmla="*/ 29 h 70"/>
                <a:gd name="T18" fmla="*/ 29 w 29"/>
                <a:gd name="T19" fmla="*/ 2 h 70"/>
                <a:gd name="T20" fmla="*/ 29 w 29"/>
                <a:gd name="T21" fmla="*/ 0 h 70"/>
                <a:gd name="T22" fmla="*/ 17 w 29"/>
                <a:gd name="T23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70">
                  <a:moveTo>
                    <a:pt x="17" y="0"/>
                  </a:moveTo>
                  <a:cubicBezTo>
                    <a:pt x="16" y="0"/>
                    <a:pt x="15" y="1"/>
                    <a:pt x="15" y="2"/>
                  </a:cubicBezTo>
                  <a:cubicBezTo>
                    <a:pt x="15" y="3"/>
                    <a:pt x="16" y="4"/>
                    <a:pt x="17" y="4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4" y="8"/>
                    <a:pt x="22" y="16"/>
                    <a:pt x="14" y="27"/>
                  </a:cubicBezTo>
                  <a:cubicBezTo>
                    <a:pt x="0" y="45"/>
                    <a:pt x="0" y="66"/>
                    <a:pt x="0" y="70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4" y="66"/>
                    <a:pt x="4" y="47"/>
                    <a:pt x="17" y="29"/>
                  </a:cubicBezTo>
                  <a:cubicBezTo>
                    <a:pt x="28" y="14"/>
                    <a:pt x="29" y="2"/>
                    <a:pt x="29" y="2"/>
                  </a:cubicBezTo>
                  <a:cubicBezTo>
                    <a:pt x="29" y="0"/>
                    <a:pt x="29" y="0"/>
                    <a:pt x="29" y="0"/>
                  </a:cubicBez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 sz="2400" spc="100">
                <a:solidFill>
                  <a:srgbClr val="2D2D2A"/>
                </a:solidFill>
              </a:endParaRPr>
            </a:p>
          </p:txBody>
        </p:sp>
      </p:grpSp>
      <p:grpSp>
        <p:nvGrpSpPr>
          <p:cNvPr id="93" name="Group 27"/>
          <p:cNvGrpSpPr>
            <a:grpSpLocks noChangeAspect="1"/>
          </p:cNvGrpSpPr>
          <p:nvPr userDrawn="1"/>
        </p:nvGrpSpPr>
        <p:grpSpPr bwMode="gray">
          <a:xfrm>
            <a:off x="3484976" y="540603"/>
            <a:ext cx="1346543" cy="773368"/>
            <a:chOff x="1863" y="1443"/>
            <a:chExt cx="2032" cy="1436"/>
          </a:xfrm>
          <a:solidFill>
            <a:srgbClr val="194780"/>
          </a:solidFill>
        </p:grpSpPr>
        <p:sp>
          <p:nvSpPr>
            <p:cNvPr id="94" name="Freeform 28"/>
            <p:cNvSpPr>
              <a:spLocks/>
            </p:cNvSpPr>
            <p:nvPr/>
          </p:nvSpPr>
          <p:spPr bwMode="gray">
            <a:xfrm>
              <a:off x="2900" y="1443"/>
              <a:ext cx="995" cy="895"/>
            </a:xfrm>
            <a:custGeom>
              <a:avLst/>
              <a:gdLst>
                <a:gd name="T0" fmla="*/ 421 w 421"/>
                <a:gd name="T1" fmla="*/ 183 h 379"/>
                <a:gd name="T2" fmla="*/ 195 w 421"/>
                <a:gd name="T3" fmla="*/ 0 h 379"/>
                <a:gd name="T4" fmla="*/ 0 w 421"/>
                <a:gd name="T5" fmla="*/ 91 h 379"/>
                <a:gd name="T6" fmla="*/ 205 w 421"/>
                <a:gd name="T7" fmla="*/ 340 h 379"/>
                <a:gd name="T8" fmla="*/ 204 w 421"/>
                <a:gd name="T9" fmla="*/ 367 h 379"/>
                <a:gd name="T10" fmla="*/ 343 w 421"/>
                <a:gd name="T11" fmla="*/ 378 h 379"/>
                <a:gd name="T12" fmla="*/ 338 w 421"/>
                <a:gd name="T13" fmla="*/ 368 h 379"/>
                <a:gd name="T14" fmla="*/ 338 w 421"/>
                <a:gd name="T15" fmla="*/ 325 h 379"/>
                <a:gd name="T16" fmla="*/ 338 w 421"/>
                <a:gd name="T17" fmla="*/ 325 h 379"/>
                <a:gd name="T18" fmla="*/ 421 w 421"/>
                <a:gd name="T19" fmla="*/ 183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1" h="379">
                  <a:moveTo>
                    <a:pt x="421" y="183"/>
                  </a:moveTo>
                  <a:cubicBezTo>
                    <a:pt x="421" y="82"/>
                    <a:pt x="320" y="0"/>
                    <a:pt x="195" y="0"/>
                  </a:cubicBezTo>
                  <a:cubicBezTo>
                    <a:pt x="112" y="0"/>
                    <a:pt x="39" y="37"/>
                    <a:pt x="0" y="91"/>
                  </a:cubicBezTo>
                  <a:cubicBezTo>
                    <a:pt x="120" y="131"/>
                    <a:pt x="205" y="228"/>
                    <a:pt x="205" y="340"/>
                  </a:cubicBezTo>
                  <a:cubicBezTo>
                    <a:pt x="205" y="349"/>
                    <a:pt x="205" y="358"/>
                    <a:pt x="204" y="367"/>
                  </a:cubicBezTo>
                  <a:cubicBezTo>
                    <a:pt x="248" y="370"/>
                    <a:pt x="319" y="375"/>
                    <a:pt x="343" y="378"/>
                  </a:cubicBezTo>
                  <a:cubicBezTo>
                    <a:pt x="343" y="378"/>
                    <a:pt x="357" y="379"/>
                    <a:pt x="338" y="368"/>
                  </a:cubicBezTo>
                  <a:cubicBezTo>
                    <a:pt x="329" y="364"/>
                    <a:pt x="310" y="343"/>
                    <a:pt x="338" y="325"/>
                  </a:cubicBezTo>
                  <a:cubicBezTo>
                    <a:pt x="338" y="325"/>
                    <a:pt x="338" y="325"/>
                    <a:pt x="338" y="325"/>
                  </a:cubicBezTo>
                  <a:cubicBezTo>
                    <a:pt x="389" y="291"/>
                    <a:pt x="421" y="240"/>
                    <a:pt x="421" y="1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5" name="Freeform 29"/>
            <p:cNvSpPr>
              <a:spLocks/>
            </p:cNvSpPr>
            <p:nvPr/>
          </p:nvSpPr>
          <p:spPr bwMode="gray">
            <a:xfrm>
              <a:off x="1863" y="1648"/>
              <a:ext cx="1484" cy="1231"/>
            </a:xfrm>
            <a:custGeom>
              <a:avLst/>
              <a:gdLst>
                <a:gd name="T0" fmla="*/ 314 w 628"/>
                <a:gd name="T1" fmla="*/ 0 h 521"/>
                <a:gd name="T2" fmla="*/ 0 w 628"/>
                <a:gd name="T3" fmla="*/ 253 h 521"/>
                <a:gd name="T4" fmla="*/ 115 w 628"/>
                <a:gd name="T5" fmla="*/ 449 h 521"/>
                <a:gd name="T6" fmla="*/ 123 w 628"/>
                <a:gd name="T7" fmla="*/ 454 h 521"/>
                <a:gd name="T8" fmla="*/ 136 w 628"/>
                <a:gd name="T9" fmla="*/ 470 h 521"/>
                <a:gd name="T10" fmla="*/ 135 w 628"/>
                <a:gd name="T11" fmla="*/ 470 h 521"/>
                <a:gd name="T12" fmla="*/ 139 w 628"/>
                <a:gd name="T13" fmla="*/ 488 h 521"/>
                <a:gd name="T14" fmla="*/ 119 w 628"/>
                <a:gd name="T15" fmla="*/ 521 h 521"/>
                <a:gd name="T16" fmla="*/ 319 w 628"/>
                <a:gd name="T17" fmla="*/ 506 h 521"/>
                <a:gd name="T18" fmla="*/ 356 w 628"/>
                <a:gd name="T19" fmla="*/ 504 h 521"/>
                <a:gd name="T20" fmla="*/ 357 w 628"/>
                <a:gd name="T21" fmla="*/ 504 h 521"/>
                <a:gd name="T22" fmla="*/ 628 w 628"/>
                <a:gd name="T23" fmla="*/ 253 h 521"/>
                <a:gd name="T24" fmla="*/ 314 w 628"/>
                <a:gd name="T25" fmla="*/ 0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28" h="521">
                  <a:moveTo>
                    <a:pt x="314" y="0"/>
                  </a:moveTo>
                  <a:cubicBezTo>
                    <a:pt x="141" y="0"/>
                    <a:pt x="0" y="114"/>
                    <a:pt x="0" y="253"/>
                  </a:cubicBezTo>
                  <a:cubicBezTo>
                    <a:pt x="0" y="329"/>
                    <a:pt x="42" y="400"/>
                    <a:pt x="115" y="449"/>
                  </a:cubicBezTo>
                  <a:cubicBezTo>
                    <a:pt x="123" y="454"/>
                    <a:pt x="123" y="454"/>
                    <a:pt x="123" y="454"/>
                  </a:cubicBezTo>
                  <a:cubicBezTo>
                    <a:pt x="127" y="458"/>
                    <a:pt x="132" y="464"/>
                    <a:pt x="136" y="470"/>
                  </a:cubicBezTo>
                  <a:cubicBezTo>
                    <a:pt x="135" y="470"/>
                    <a:pt x="135" y="470"/>
                    <a:pt x="135" y="470"/>
                  </a:cubicBezTo>
                  <a:cubicBezTo>
                    <a:pt x="139" y="476"/>
                    <a:pt x="140" y="483"/>
                    <a:pt x="139" y="488"/>
                  </a:cubicBezTo>
                  <a:cubicBezTo>
                    <a:pt x="139" y="503"/>
                    <a:pt x="128" y="515"/>
                    <a:pt x="119" y="521"/>
                  </a:cubicBezTo>
                  <a:cubicBezTo>
                    <a:pt x="168" y="516"/>
                    <a:pt x="262" y="510"/>
                    <a:pt x="319" y="506"/>
                  </a:cubicBezTo>
                  <a:cubicBezTo>
                    <a:pt x="332" y="506"/>
                    <a:pt x="344" y="505"/>
                    <a:pt x="356" y="504"/>
                  </a:cubicBezTo>
                  <a:cubicBezTo>
                    <a:pt x="357" y="504"/>
                    <a:pt x="357" y="504"/>
                    <a:pt x="357" y="504"/>
                  </a:cubicBezTo>
                  <a:cubicBezTo>
                    <a:pt x="512" y="487"/>
                    <a:pt x="628" y="379"/>
                    <a:pt x="628" y="253"/>
                  </a:cubicBezTo>
                  <a:cubicBezTo>
                    <a:pt x="628" y="114"/>
                    <a:pt x="487" y="0"/>
                    <a:pt x="3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6" name="Line 31"/>
            <p:cNvSpPr>
              <a:spLocks noChangeShapeType="1"/>
            </p:cNvSpPr>
            <p:nvPr/>
          </p:nvSpPr>
          <p:spPr bwMode="gray">
            <a:xfrm>
              <a:off x="2390" y="2650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7" name="Line 32"/>
            <p:cNvSpPr>
              <a:spLocks noChangeShapeType="1"/>
            </p:cNvSpPr>
            <p:nvPr/>
          </p:nvSpPr>
          <p:spPr bwMode="gray">
            <a:xfrm>
              <a:off x="2390" y="2650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98" name="Group 44"/>
          <p:cNvGrpSpPr>
            <a:grpSpLocks noChangeAspect="1"/>
          </p:cNvGrpSpPr>
          <p:nvPr userDrawn="1"/>
        </p:nvGrpSpPr>
        <p:grpSpPr bwMode="gray">
          <a:xfrm>
            <a:off x="6085260" y="4746869"/>
            <a:ext cx="1106922" cy="614681"/>
            <a:chOff x="2146" y="1658"/>
            <a:chExt cx="1465" cy="1001"/>
          </a:xfrm>
          <a:solidFill>
            <a:srgbClr val="194780"/>
          </a:solidFill>
        </p:grpSpPr>
        <p:sp>
          <p:nvSpPr>
            <p:cNvPr id="99" name="Freeform 45"/>
            <p:cNvSpPr>
              <a:spLocks/>
            </p:cNvSpPr>
            <p:nvPr/>
          </p:nvSpPr>
          <p:spPr bwMode="gray">
            <a:xfrm>
              <a:off x="2189" y="2194"/>
              <a:ext cx="1377" cy="465"/>
            </a:xfrm>
            <a:custGeom>
              <a:avLst/>
              <a:gdLst>
                <a:gd name="T0" fmla="*/ 297 w 583"/>
                <a:gd name="T1" fmla="*/ 90 h 197"/>
                <a:gd name="T2" fmla="*/ 291 w 583"/>
                <a:gd name="T3" fmla="*/ 93 h 197"/>
                <a:gd name="T4" fmla="*/ 285 w 583"/>
                <a:gd name="T5" fmla="*/ 90 h 197"/>
                <a:gd name="T6" fmla="*/ 195 w 583"/>
                <a:gd name="T7" fmla="*/ 0 h 197"/>
                <a:gd name="T8" fmla="*/ 0 w 583"/>
                <a:gd name="T9" fmla="*/ 196 h 197"/>
                <a:gd name="T10" fmla="*/ 6 w 583"/>
                <a:gd name="T11" fmla="*/ 197 h 197"/>
                <a:gd name="T12" fmla="*/ 578 w 583"/>
                <a:gd name="T13" fmla="*/ 197 h 197"/>
                <a:gd name="T14" fmla="*/ 583 w 583"/>
                <a:gd name="T15" fmla="*/ 197 h 197"/>
                <a:gd name="T16" fmla="*/ 387 w 583"/>
                <a:gd name="T17" fmla="*/ 0 h 197"/>
                <a:gd name="T18" fmla="*/ 297 w 583"/>
                <a:gd name="T19" fmla="*/ 90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3" h="197">
                  <a:moveTo>
                    <a:pt x="297" y="90"/>
                  </a:moveTo>
                  <a:cubicBezTo>
                    <a:pt x="295" y="92"/>
                    <a:pt x="293" y="93"/>
                    <a:pt x="291" y="93"/>
                  </a:cubicBezTo>
                  <a:cubicBezTo>
                    <a:pt x="289" y="93"/>
                    <a:pt x="287" y="92"/>
                    <a:pt x="285" y="9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2" y="197"/>
                    <a:pt x="4" y="197"/>
                    <a:pt x="6" y="197"/>
                  </a:cubicBezTo>
                  <a:cubicBezTo>
                    <a:pt x="578" y="197"/>
                    <a:pt x="578" y="197"/>
                    <a:pt x="578" y="197"/>
                  </a:cubicBezTo>
                  <a:cubicBezTo>
                    <a:pt x="580" y="197"/>
                    <a:pt x="581" y="197"/>
                    <a:pt x="583" y="197"/>
                  </a:cubicBezTo>
                  <a:cubicBezTo>
                    <a:pt x="387" y="0"/>
                    <a:pt x="387" y="0"/>
                    <a:pt x="387" y="0"/>
                  </a:cubicBezTo>
                  <a:lnTo>
                    <a:pt x="297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0" name="Freeform 46"/>
            <p:cNvSpPr>
              <a:spLocks/>
            </p:cNvSpPr>
            <p:nvPr/>
          </p:nvSpPr>
          <p:spPr bwMode="gray">
            <a:xfrm>
              <a:off x="3129" y="1691"/>
              <a:ext cx="482" cy="947"/>
            </a:xfrm>
            <a:custGeom>
              <a:avLst/>
              <a:gdLst>
                <a:gd name="T0" fmla="*/ 199 w 204"/>
                <a:gd name="T1" fmla="*/ 401 h 401"/>
                <a:gd name="T2" fmla="*/ 204 w 204"/>
                <a:gd name="T3" fmla="*/ 386 h 401"/>
                <a:gd name="T4" fmla="*/ 204 w 204"/>
                <a:gd name="T5" fmla="*/ 10 h 401"/>
                <a:gd name="T6" fmla="*/ 202 w 204"/>
                <a:gd name="T7" fmla="*/ 0 h 401"/>
                <a:gd name="T8" fmla="*/ 0 w 204"/>
                <a:gd name="T9" fmla="*/ 202 h 401"/>
                <a:gd name="T10" fmla="*/ 199 w 204"/>
                <a:gd name="T11" fmla="*/ 401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4" h="401">
                  <a:moveTo>
                    <a:pt x="199" y="401"/>
                  </a:moveTo>
                  <a:cubicBezTo>
                    <a:pt x="202" y="397"/>
                    <a:pt x="204" y="392"/>
                    <a:pt x="204" y="386"/>
                  </a:cubicBezTo>
                  <a:cubicBezTo>
                    <a:pt x="204" y="10"/>
                    <a:pt x="204" y="10"/>
                    <a:pt x="204" y="10"/>
                  </a:cubicBezTo>
                  <a:cubicBezTo>
                    <a:pt x="204" y="6"/>
                    <a:pt x="203" y="3"/>
                    <a:pt x="202" y="0"/>
                  </a:cubicBezTo>
                  <a:cubicBezTo>
                    <a:pt x="0" y="202"/>
                    <a:pt x="0" y="202"/>
                    <a:pt x="0" y="202"/>
                  </a:cubicBezTo>
                  <a:lnTo>
                    <a:pt x="199" y="4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1" name="Freeform 47"/>
            <p:cNvSpPr>
              <a:spLocks/>
            </p:cNvSpPr>
            <p:nvPr/>
          </p:nvSpPr>
          <p:spPr bwMode="gray">
            <a:xfrm>
              <a:off x="2146" y="1693"/>
              <a:ext cx="477" cy="942"/>
            </a:xfrm>
            <a:custGeom>
              <a:avLst/>
              <a:gdLst>
                <a:gd name="T0" fmla="*/ 2 w 202"/>
                <a:gd name="T1" fmla="*/ 0 h 399"/>
                <a:gd name="T2" fmla="*/ 0 w 202"/>
                <a:gd name="T3" fmla="*/ 9 h 399"/>
                <a:gd name="T4" fmla="*/ 0 w 202"/>
                <a:gd name="T5" fmla="*/ 385 h 399"/>
                <a:gd name="T6" fmla="*/ 4 w 202"/>
                <a:gd name="T7" fmla="*/ 399 h 399"/>
                <a:gd name="T8" fmla="*/ 202 w 202"/>
                <a:gd name="T9" fmla="*/ 201 h 399"/>
                <a:gd name="T10" fmla="*/ 2 w 202"/>
                <a:gd name="T11" fmla="*/ 0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2" h="399">
                  <a:moveTo>
                    <a:pt x="2" y="0"/>
                  </a:moveTo>
                  <a:cubicBezTo>
                    <a:pt x="1" y="3"/>
                    <a:pt x="0" y="6"/>
                    <a:pt x="0" y="9"/>
                  </a:cubicBezTo>
                  <a:cubicBezTo>
                    <a:pt x="0" y="385"/>
                    <a:pt x="0" y="385"/>
                    <a:pt x="0" y="385"/>
                  </a:cubicBezTo>
                  <a:cubicBezTo>
                    <a:pt x="0" y="390"/>
                    <a:pt x="2" y="395"/>
                    <a:pt x="4" y="399"/>
                  </a:cubicBezTo>
                  <a:cubicBezTo>
                    <a:pt x="202" y="201"/>
                    <a:pt x="202" y="201"/>
                    <a:pt x="202" y="201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2" name="Freeform 48"/>
            <p:cNvSpPr>
              <a:spLocks/>
            </p:cNvSpPr>
            <p:nvPr/>
          </p:nvSpPr>
          <p:spPr bwMode="gray">
            <a:xfrm>
              <a:off x="2174" y="1658"/>
              <a:ext cx="1406" cy="699"/>
            </a:xfrm>
            <a:custGeom>
              <a:avLst/>
              <a:gdLst>
                <a:gd name="T0" fmla="*/ 291 w 595"/>
                <a:gd name="T1" fmla="*/ 293 h 296"/>
                <a:gd name="T2" fmla="*/ 297 w 595"/>
                <a:gd name="T3" fmla="*/ 296 h 296"/>
                <a:gd name="T4" fmla="*/ 303 w 595"/>
                <a:gd name="T5" fmla="*/ 293 h 296"/>
                <a:gd name="T6" fmla="*/ 595 w 595"/>
                <a:gd name="T7" fmla="*/ 3 h 296"/>
                <a:gd name="T8" fmla="*/ 584 w 595"/>
                <a:gd name="T9" fmla="*/ 0 h 296"/>
                <a:gd name="T10" fmla="*/ 12 w 595"/>
                <a:gd name="T11" fmla="*/ 0 h 296"/>
                <a:gd name="T12" fmla="*/ 0 w 595"/>
                <a:gd name="T13" fmla="*/ 3 h 296"/>
                <a:gd name="T14" fmla="*/ 291 w 595"/>
                <a:gd name="T15" fmla="*/ 293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5" h="296">
                  <a:moveTo>
                    <a:pt x="291" y="293"/>
                  </a:moveTo>
                  <a:cubicBezTo>
                    <a:pt x="293" y="295"/>
                    <a:pt x="295" y="296"/>
                    <a:pt x="297" y="296"/>
                  </a:cubicBezTo>
                  <a:cubicBezTo>
                    <a:pt x="299" y="296"/>
                    <a:pt x="301" y="295"/>
                    <a:pt x="303" y="293"/>
                  </a:cubicBezTo>
                  <a:cubicBezTo>
                    <a:pt x="595" y="3"/>
                    <a:pt x="595" y="3"/>
                    <a:pt x="595" y="3"/>
                  </a:cubicBezTo>
                  <a:cubicBezTo>
                    <a:pt x="591" y="1"/>
                    <a:pt x="588" y="0"/>
                    <a:pt x="58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4" y="1"/>
                    <a:pt x="0" y="3"/>
                  </a:cubicBezTo>
                  <a:lnTo>
                    <a:pt x="291" y="2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03" name="Group 77"/>
          <p:cNvGrpSpPr>
            <a:grpSpLocks noChangeAspect="1"/>
          </p:cNvGrpSpPr>
          <p:nvPr userDrawn="1"/>
        </p:nvGrpSpPr>
        <p:grpSpPr bwMode="gray">
          <a:xfrm>
            <a:off x="3756482" y="3413378"/>
            <a:ext cx="1038693" cy="577187"/>
            <a:chOff x="2148" y="1660"/>
            <a:chExt cx="1464" cy="1001"/>
          </a:xfrm>
          <a:solidFill>
            <a:srgbClr val="194780"/>
          </a:solidFill>
        </p:grpSpPr>
        <p:sp>
          <p:nvSpPr>
            <p:cNvPr id="104" name="Freeform 79"/>
            <p:cNvSpPr>
              <a:spLocks noEditPoints="1"/>
            </p:cNvSpPr>
            <p:nvPr/>
          </p:nvSpPr>
          <p:spPr bwMode="gray">
            <a:xfrm>
              <a:off x="2148" y="1660"/>
              <a:ext cx="1464" cy="1001"/>
            </a:xfrm>
            <a:custGeom>
              <a:avLst/>
              <a:gdLst>
                <a:gd name="T0" fmla="*/ 604 w 620"/>
                <a:gd name="T1" fmla="*/ 0 h 424"/>
                <a:gd name="T2" fmla="*/ 16 w 620"/>
                <a:gd name="T3" fmla="*/ 0 h 424"/>
                <a:gd name="T4" fmla="*/ 0 w 620"/>
                <a:gd name="T5" fmla="*/ 16 h 424"/>
                <a:gd name="T6" fmla="*/ 0 w 620"/>
                <a:gd name="T7" fmla="*/ 408 h 424"/>
                <a:gd name="T8" fmla="*/ 16 w 620"/>
                <a:gd name="T9" fmla="*/ 424 h 424"/>
                <a:gd name="T10" fmla="*/ 604 w 620"/>
                <a:gd name="T11" fmla="*/ 424 h 424"/>
                <a:gd name="T12" fmla="*/ 620 w 620"/>
                <a:gd name="T13" fmla="*/ 408 h 424"/>
                <a:gd name="T14" fmla="*/ 620 w 620"/>
                <a:gd name="T15" fmla="*/ 16 h 424"/>
                <a:gd name="T16" fmla="*/ 604 w 620"/>
                <a:gd name="T17" fmla="*/ 0 h 424"/>
                <a:gd name="T18" fmla="*/ 311 w 620"/>
                <a:gd name="T19" fmla="*/ 390 h 424"/>
                <a:gd name="T20" fmla="*/ 135 w 620"/>
                <a:gd name="T21" fmla="*/ 213 h 424"/>
                <a:gd name="T22" fmla="*/ 311 w 620"/>
                <a:gd name="T23" fmla="*/ 36 h 424"/>
                <a:gd name="T24" fmla="*/ 488 w 620"/>
                <a:gd name="T25" fmla="*/ 213 h 424"/>
                <a:gd name="T26" fmla="*/ 311 w 620"/>
                <a:gd name="T27" fmla="*/ 390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20" h="424">
                  <a:moveTo>
                    <a:pt x="604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408"/>
                    <a:pt x="0" y="408"/>
                    <a:pt x="0" y="408"/>
                  </a:cubicBezTo>
                  <a:cubicBezTo>
                    <a:pt x="0" y="417"/>
                    <a:pt x="7" y="424"/>
                    <a:pt x="16" y="424"/>
                  </a:cubicBezTo>
                  <a:cubicBezTo>
                    <a:pt x="604" y="424"/>
                    <a:pt x="604" y="424"/>
                    <a:pt x="604" y="424"/>
                  </a:cubicBezTo>
                  <a:cubicBezTo>
                    <a:pt x="613" y="424"/>
                    <a:pt x="620" y="417"/>
                    <a:pt x="620" y="408"/>
                  </a:cubicBezTo>
                  <a:cubicBezTo>
                    <a:pt x="620" y="16"/>
                    <a:pt x="620" y="16"/>
                    <a:pt x="620" y="16"/>
                  </a:cubicBezTo>
                  <a:cubicBezTo>
                    <a:pt x="620" y="7"/>
                    <a:pt x="613" y="0"/>
                    <a:pt x="604" y="0"/>
                  </a:cubicBezTo>
                  <a:close/>
                  <a:moveTo>
                    <a:pt x="311" y="390"/>
                  </a:moveTo>
                  <a:cubicBezTo>
                    <a:pt x="214" y="390"/>
                    <a:pt x="135" y="311"/>
                    <a:pt x="135" y="213"/>
                  </a:cubicBezTo>
                  <a:cubicBezTo>
                    <a:pt x="135" y="116"/>
                    <a:pt x="214" y="36"/>
                    <a:pt x="311" y="36"/>
                  </a:cubicBezTo>
                  <a:cubicBezTo>
                    <a:pt x="409" y="36"/>
                    <a:pt x="488" y="116"/>
                    <a:pt x="488" y="213"/>
                  </a:cubicBezTo>
                  <a:cubicBezTo>
                    <a:pt x="488" y="311"/>
                    <a:pt x="409" y="390"/>
                    <a:pt x="311" y="3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5000"/>
                </a:lnSpc>
              </a:pPr>
              <a:endParaRPr lang="en-US" sz="2400"/>
            </a:p>
          </p:txBody>
        </p:sp>
        <p:sp>
          <p:nvSpPr>
            <p:cNvPr id="105" name="Freeform 80"/>
            <p:cNvSpPr>
              <a:spLocks/>
            </p:cNvSpPr>
            <p:nvPr/>
          </p:nvSpPr>
          <p:spPr bwMode="gray">
            <a:xfrm>
              <a:off x="2752" y="1958"/>
              <a:ext cx="360" cy="415"/>
            </a:xfrm>
            <a:custGeom>
              <a:avLst/>
              <a:gdLst>
                <a:gd name="T0" fmla="*/ 144 w 152"/>
                <a:gd name="T1" fmla="*/ 80 h 176"/>
                <a:gd name="T2" fmla="*/ 14 w 152"/>
                <a:gd name="T3" fmla="*/ 5 h 176"/>
                <a:gd name="T4" fmla="*/ 0 w 152"/>
                <a:gd name="T5" fmla="*/ 13 h 176"/>
                <a:gd name="T6" fmla="*/ 0 w 152"/>
                <a:gd name="T7" fmla="*/ 163 h 176"/>
                <a:gd name="T8" fmla="*/ 14 w 152"/>
                <a:gd name="T9" fmla="*/ 171 h 176"/>
                <a:gd name="T10" fmla="*/ 144 w 152"/>
                <a:gd name="T11" fmla="*/ 96 h 176"/>
                <a:gd name="T12" fmla="*/ 144 w 152"/>
                <a:gd name="T13" fmla="*/ 8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76">
                  <a:moveTo>
                    <a:pt x="144" y="80"/>
                  </a:moveTo>
                  <a:cubicBezTo>
                    <a:pt x="14" y="5"/>
                    <a:pt x="14" y="5"/>
                    <a:pt x="14" y="5"/>
                  </a:cubicBezTo>
                  <a:cubicBezTo>
                    <a:pt x="6" y="0"/>
                    <a:pt x="0" y="4"/>
                    <a:pt x="0" y="13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172"/>
                    <a:pt x="6" y="176"/>
                    <a:pt x="14" y="171"/>
                  </a:cubicBezTo>
                  <a:cubicBezTo>
                    <a:pt x="144" y="96"/>
                    <a:pt x="144" y="96"/>
                    <a:pt x="144" y="96"/>
                  </a:cubicBezTo>
                  <a:cubicBezTo>
                    <a:pt x="152" y="92"/>
                    <a:pt x="152" y="84"/>
                    <a:pt x="144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5000"/>
                </a:lnSpc>
              </a:pPr>
              <a:endParaRPr lang="en-US" sz="2400"/>
            </a:p>
          </p:txBody>
        </p:sp>
      </p:grpSp>
      <p:grpSp>
        <p:nvGrpSpPr>
          <p:cNvPr id="106" name="Group 100"/>
          <p:cNvGrpSpPr>
            <a:grpSpLocks noChangeAspect="1"/>
          </p:cNvGrpSpPr>
          <p:nvPr userDrawn="1"/>
        </p:nvGrpSpPr>
        <p:grpSpPr bwMode="gray">
          <a:xfrm>
            <a:off x="5967991" y="3320093"/>
            <a:ext cx="1259175" cy="630520"/>
            <a:chOff x="1956" y="1569"/>
            <a:chExt cx="1847" cy="1138"/>
          </a:xfrm>
          <a:solidFill>
            <a:srgbClr val="194780"/>
          </a:solidFill>
        </p:grpSpPr>
        <p:sp>
          <p:nvSpPr>
            <p:cNvPr id="107" name="Freeform 101"/>
            <p:cNvSpPr>
              <a:spLocks/>
            </p:cNvSpPr>
            <p:nvPr/>
          </p:nvSpPr>
          <p:spPr bwMode="gray">
            <a:xfrm>
              <a:off x="1956" y="1791"/>
              <a:ext cx="607" cy="782"/>
            </a:xfrm>
            <a:custGeom>
              <a:avLst/>
              <a:gdLst>
                <a:gd name="T0" fmla="*/ 117 w 257"/>
                <a:gd name="T1" fmla="*/ 279 h 331"/>
                <a:gd name="T2" fmla="*/ 257 w 257"/>
                <a:gd name="T3" fmla="*/ 248 h 331"/>
                <a:gd name="T4" fmla="*/ 234 w 257"/>
                <a:gd name="T5" fmla="*/ 171 h 331"/>
                <a:gd name="T6" fmla="*/ 215 w 257"/>
                <a:gd name="T7" fmla="*/ 156 h 331"/>
                <a:gd name="T8" fmla="*/ 170 w 257"/>
                <a:gd name="T9" fmla="*/ 156 h 331"/>
                <a:gd name="T10" fmla="*/ 152 w 257"/>
                <a:gd name="T11" fmla="*/ 132 h 331"/>
                <a:gd name="T12" fmla="*/ 170 w 257"/>
                <a:gd name="T13" fmla="*/ 125 h 331"/>
                <a:gd name="T14" fmla="*/ 134 w 257"/>
                <a:gd name="T15" fmla="*/ 34 h 331"/>
                <a:gd name="T16" fmla="*/ 74 w 257"/>
                <a:gd name="T17" fmla="*/ 3 h 331"/>
                <a:gd name="T18" fmla="*/ 33 w 257"/>
                <a:gd name="T19" fmla="*/ 101 h 331"/>
                <a:gd name="T20" fmla="*/ 42 w 257"/>
                <a:gd name="T21" fmla="*/ 161 h 331"/>
                <a:gd name="T22" fmla="*/ 67 w 257"/>
                <a:gd name="T23" fmla="*/ 154 h 331"/>
                <a:gd name="T24" fmla="*/ 68 w 257"/>
                <a:gd name="T25" fmla="*/ 173 h 331"/>
                <a:gd name="T26" fmla="*/ 14 w 257"/>
                <a:gd name="T27" fmla="*/ 199 h 331"/>
                <a:gd name="T28" fmla="*/ 2 w 257"/>
                <a:gd name="T29" fmla="*/ 232 h 331"/>
                <a:gd name="T30" fmla="*/ 28 w 257"/>
                <a:gd name="T31" fmla="*/ 331 h 331"/>
                <a:gd name="T32" fmla="*/ 117 w 257"/>
                <a:gd name="T33" fmla="*/ 279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7" h="331">
                  <a:moveTo>
                    <a:pt x="117" y="279"/>
                  </a:moveTo>
                  <a:cubicBezTo>
                    <a:pt x="155" y="265"/>
                    <a:pt x="203" y="254"/>
                    <a:pt x="257" y="248"/>
                  </a:cubicBezTo>
                  <a:cubicBezTo>
                    <a:pt x="247" y="215"/>
                    <a:pt x="234" y="171"/>
                    <a:pt x="234" y="171"/>
                  </a:cubicBezTo>
                  <a:cubicBezTo>
                    <a:pt x="233" y="162"/>
                    <a:pt x="222" y="156"/>
                    <a:pt x="215" y="156"/>
                  </a:cubicBezTo>
                  <a:cubicBezTo>
                    <a:pt x="170" y="156"/>
                    <a:pt x="170" y="156"/>
                    <a:pt x="170" y="156"/>
                  </a:cubicBezTo>
                  <a:cubicBezTo>
                    <a:pt x="168" y="156"/>
                    <a:pt x="157" y="153"/>
                    <a:pt x="152" y="132"/>
                  </a:cubicBezTo>
                  <a:cubicBezTo>
                    <a:pt x="151" y="129"/>
                    <a:pt x="171" y="129"/>
                    <a:pt x="170" y="125"/>
                  </a:cubicBezTo>
                  <a:cubicBezTo>
                    <a:pt x="164" y="101"/>
                    <a:pt x="146" y="60"/>
                    <a:pt x="134" y="34"/>
                  </a:cubicBezTo>
                  <a:cubicBezTo>
                    <a:pt x="122" y="7"/>
                    <a:pt x="93" y="0"/>
                    <a:pt x="74" y="3"/>
                  </a:cubicBezTo>
                  <a:cubicBezTo>
                    <a:pt x="74" y="3"/>
                    <a:pt x="11" y="12"/>
                    <a:pt x="33" y="101"/>
                  </a:cubicBezTo>
                  <a:cubicBezTo>
                    <a:pt x="39" y="124"/>
                    <a:pt x="41" y="146"/>
                    <a:pt x="42" y="161"/>
                  </a:cubicBezTo>
                  <a:cubicBezTo>
                    <a:pt x="42" y="164"/>
                    <a:pt x="67" y="151"/>
                    <a:pt x="67" y="154"/>
                  </a:cubicBezTo>
                  <a:cubicBezTo>
                    <a:pt x="68" y="160"/>
                    <a:pt x="72" y="170"/>
                    <a:pt x="68" y="173"/>
                  </a:cubicBezTo>
                  <a:cubicBezTo>
                    <a:pt x="54" y="180"/>
                    <a:pt x="14" y="199"/>
                    <a:pt x="14" y="199"/>
                  </a:cubicBezTo>
                  <a:cubicBezTo>
                    <a:pt x="7" y="202"/>
                    <a:pt x="0" y="223"/>
                    <a:pt x="2" y="232"/>
                  </a:cubicBezTo>
                  <a:cubicBezTo>
                    <a:pt x="2" y="232"/>
                    <a:pt x="16" y="289"/>
                    <a:pt x="28" y="331"/>
                  </a:cubicBezTo>
                  <a:cubicBezTo>
                    <a:pt x="47" y="313"/>
                    <a:pt x="75" y="295"/>
                    <a:pt x="117" y="2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8" name="Freeform 102"/>
            <p:cNvSpPr>
              <a:spLocks/>
            </p:cNvSpPr>
            <p:nvPr/>
          </p:nvSpPr>
          <p:spPr bwMode="gray">
            <a:xfrm>
              <a:off x="3191" y="1741"/>
              <a:ext cx="612" cy="844"/>
            </a:xfrm>
            <a:custGeom>
              <a:avLst/>
              <a:gdLst>
                <a:gd name="T0" fmla="*/ 232 w 259"/>
                <a:gd name="T1" fmla="*/ 357 h 357"/>
                <a:gd name="T2" fmla="*/ 259 w 259"/>
                <a:gd name="T3" fmla="*/ 234 h 357"/>
                <a:gd name="T4" fmla="*/ 233 w 259"/>
                <a:gd name="T5" fmla="*/ 204 h 357"/>
                <a:gd name="T6" fmla="*/ 172 w 259"/>
                <a:gd name="T7" fmla="*/ 170 h 357"/>
                <a:gd name="T8" fmla="*/ 204 w 259"/>
                <a:gd name="T9" fmla="*/ 101 h 357"/>
                <a:gd name="T10" fmla="*/ 187 w 259"/>
                <a:gd name="T11" fmla="*/ 17 h 357"/>
                <a:gd name="T12" fmla="*/ 144 w 259"/>
                <a:gd name="T13" fmla="*/ 3 h 357"/>
                <a:gd name="T14" fmla="*/ 105 w 259"/>
                <a:gd name="T15" fmla="*/ 23 h 357"/>
                <a:gd name="T16" fmla="*/ 91 w 259"/>
                <a:gd name="T17" fmla="*/ 85 h 357"/>
                <a:gd name="T18" fmla="*/ 100 w 259"/>
                <a:gd name="T19" fmla="*/ 158 h 357"/>
                <a:gd name="T20" fmla="*/ 39 w 259"/>
                <a:gd name="T21" fmla="*/ 171 h 357"/>
                <a:gd name="T22" fmla="*/ 14 w 259"/>
                <a:gd name="T23" fmla="*/ 201 h 357"/>
                <a:gd name="T24" fmla="*/ 0 w 259"/>
                <a:gd name="T25" fmla="*/ 269 h 357"/>
                <a:gd name="T26" fmla="*/ 137 w 259"/>
                <a:gd name="T27" fmla="*/ 300 h 357"/>
                <a:gd name="T28" fmla="*/ 232 w 259"/>
                <a:gd name="T29" fmla="*/ 357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9" h="357">
                  <a:moveTo>
                    <a:pt x="232" y="357"/>
                  </a:moveTo>
                  <a:cubicBezTo>
                    <a:pt x="239" y="331"/>
                    <a:pt x="259" y="265"/>
                    <a:pt x="259" y="234"/>
                  </a:cubicBezTo>
                  <a:cubicBezTo>
                    <a:pt x="259" y="227"/>
                    <a:pt x="248" y="213"/>
                    <a:pt x="233" y="204"/>
                  </a:cubicBezTo>
                  <a:cubicBezTo>
                    <a:pt x="217" y="196"/>
                    <a:pt x="181" y="178"/>
                    <a:pt x="172" y="170"/>
                  </a:cubicBezTo>
                  <a:cubicBezTo>
                    <a:pt x="175" y="146"/>
                    <a:pt x="193" y="136"/>
                    <a:pt x="204" y="101"/>
                  </a:cubicBezTo>
                  <a:cubicBezTo>
                    <a:pt x="215" y="66"/>
                    <a:pt x="198" y="26"/>
                    <a:pt x="187" y="17"/>
                  </a:cubicBezTo>
                  <a:cubicBezTo>
                    <a:pt x="176" y="9"/>
                    <a:pt x="160" y="0"/>
                    <a:pt x="144" y="3"/>
                  </a:cubicBezTo>
                  <a:cubicBezTo>
                    <a:pt x="129" y="6"/>
                    <a:pt x="117" y="10"/>
                    <a:pt x="105" y="23"/>
                  </a:cubicBezTo>
                  <a:cubicBezTo>
                    <a:pt x="98" y="30"/>
                    <a:pt x="88" y="40"/>
                    <a:pt x="91" y="85"/>
                  </a:cubicBezTo>
                  <a:cubicBezTo>
                    <a:pt x="94" y="128"/>
                    <a:pt x="113" y="143"/>
                    <a:pt x="100" y="158"/>
                  </a:cubicBezTo>
                  <a:cubicBezTo>
                    <a:pt x="89" y="164"/>
                    <a:pt x="62" y="169"/>
                    <a:pt x="39" y="171"/>
                  </a:cubicBezTo>
                  <a:cubicBezTo>
                    <a:pt x="38" y="171"/>
                    <a:pt x="20" y="174"/>
                    <a:pt x="14" y="201"/>
                  </a:cubicBezTo>
                  <a:cubicBezTo>
                    <a:pt x="10" y="218"/>
                    <a:pt x="5" y="243"/>
                    <a:pt x="0" y="269"/>
                  </a:cubicBezTo>
                  <a:cubicBezTo>
                    <a:pt x="52" y="276"/>
                    <a:pt x="98" y="286"/>
                    <a:pt x="137" y="300"/>
                  </a:cubicBezTo>
                  <a:cubicBezTo>
                    <a:pt x="183" y="317"/>
                    <a:pt x="213" y="337"/>
                    <a:pt x="232" y="3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9" name="Freeform 103"/>
            <p:cNvSpPr>
              <a:spLocks/>
            </p:cNvSpPr>
            <p:nvPr/>
          </p:nvSpPr>
          <p:spPr bwMode="gray">
            <a:xfrm>
              <a:off x="2582" y="1569"/>
              <a:ext cx="588" cy="805"/>
            </a:xfrm>
            <a:custGeom>
              <a:avLst/>
              <a:gdLst>
                <a:gd name="T0" fmla="*/ 249 w 249"/>
                <a:gd name="T1" fmla="*/ 341 h 341"/>
                <a:gd name="T2" fmla="*/ 249 w 249"/>
                <a:gd name="T3" fmla="*/ 341 h 341"/>
                <a:gd name="T4" fmla="*/ 249 w 249"/>
                <a:gd name="T5" fmla="*/ 215 h 341"/>
                <a:gd name="T6" fmla="*/ 230 w 249"/>
                <a:gd name="T7" fmla="*/ 188 h 341"/>
                <a:gd name="T8" fmla="*/ 156 w 249"/>
                <a:gd name="T9" fmla="*/ 160 h 341"/>
                <a:gd name="T10" fmla="*/ 165 w 249"/>
                <a:gd name="T11" fmla="*/ 126 h 341"/>
                <a:gd name="T12" fmla="*/ 179 w 249"/>
                <a:gd name="T13" fmla="*/ 81 h 341"/>
                <a:gd name="T14" fmla="*/ 166 w 249"/>
                <a:gd name="T15" fmla="*/ 35 h 341"/>
                <a:gd name="T16" fmla="*/ 76 w 249"/>
                <a:gd name="T17" fmla="*/ 55 h 341"/>
                <a:gd name="T18" fmla="*/ 81 w 249"/>
                <a:gd name="T19" fmla="*/ 120 h 341"/>
                <a:gd name="T20" fmla="*/ 95 w 249"/>
                <a:gd name="T21" fmla="*/ 159 h 341"/>
                <a:gd name="T22" fmla="*/ 28 w 249"/>
                <a:gd name="T23" fmla="*/ 187 h 341"/>
                <a:gd name="T24" fmla="*/ 5 w 249"/>
                <a:gd name="T25" fmla="*/ 211 h 341"/>
                <a:gd name="T26" fmla="*/ 0 w 249"/>
                <a:gd name="T27" fmla="*/ 341 h 341"/>
                <a:gd name="T28" fmla="*/ 121 w 249"/>
                <a:gd name="T29" fmla="*/ 334 h 341"/>
                <a:gd name="T30" fmla="*/ 249 w 249"/>
                <a:gd name="T31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9" h="341">
                  <a:moveTo>
                    <a:pt x="249" y="341"/>
                  </a:moveTo>
                  <a:cubicBezTo>
                    <a:pt x="249" y="341"/>
                    <a:pt x="249" y="341"/>
                    <a:pt x="249" y="341"/>
                  </a:cubicBezTo>
                  <a:cubicBezTo>
                    <a:pt x="249" y="215"/>
                    <a:pt x="249" y="215"/>
                    <a:pt x="249" y="215"/>
                  </a:cubicBezTo>
                  <a:cubicBezTo>
                    <a:pt x="249" y="206"/>
                    <a:pt x="241" y="194"/>
                    <a:pt x="230" y="188"/>
                  </a:cubicBezTo>
                  <a:cubicBezTo>
                    <a:pt x="222" y="183"/>
                    <a:pt x="163" y="168"/>
                    <a:pt x="156" y="160"/>
                  </a:cubicBezTo>
                  <a:cubicBezTo>
                    <a:pt x="154" y="155"/>
                    <a:pt x="157" y="137"/>
                    <a:pt x="165" y="126"/>
                  </a:cubicBezTo>
                  <a:cubicBezTo>
                    <a:pt x="173" y="115"/>
                    <a:pt x="179" y="81"/>
                    <a:pt x="179" y="81"/>
                  </a:cubicBezTo>
                  <a:cubicBezTo>
                    <a:pt x="179" y="81"/>
                    <a:pt x="177" y="50"/>
                    <a:pt x="166" y="35"/>
                  </a:cubicBezTo>
                  <a:cubicBezTo>
                    <a:pt x="155" y="20"/>
                    <a:pt x="84" y="0"/>
                    <a:pt x="76" y="55"/>
                  </a:cubicBezTo>
                  <a:cubicBezTo>
                    <a:pt x="74" y="65"/>
                    <a:pt x="75" y="105"/>
                    <a:pt x="81" y="120"/>
                  </a:cubicBezTo>
                  <a:cubicBezTo>
                    <a:pt x="86" y="136"/>
                    <a:pt x="96" y="141"/>
                    <a:pt x="95" y="159"/>
                  </a:cubicBezTo>
                  <a:cubicBezTo>
                    <a:pt x="86" y="166"/>
                    <a:pt x="31" y="186"/>
                    <a:pt x="28" y="187"/>
                  </a:cubicBezTo>
                  <a:cubicBezTo>
                    <a:pt x="28" y="187"/>
                    <a:pt x="7" y="192"/>
                    <a:pt x="5" y="211"/>
                  </a:cubicBezTo>
                  <a:cubicBezTo>
                    <a:pt x="3" y="230"/>
                    <a:pt x="0" y="335"/>
                    <a:pt x="0" y="341"/>
                  </a:cubicBezTo>
                  <a:cubicBezTo>
                    <a:pt x="38" y="336"/>
                    <a:pt x="79" y="334"/>
                    <a:pt x="121" y="334"/>
                  </a:cubicBezTo>
                  <a:cubicBezTo>
                    <a:pt x="166" y="334"/>
                    <a:pt x="209" y="337"/>
                    <a:pt x="249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0" name="Freeform 104"/>
            <p:cNvSpPr>
              <a:spLocks/>
            </p:cNvSpPr>
            <p:nvPr/>
          </p:nvSpPr>
          <p:spPr bwMode="gray">
            <a:xfrm>
              <a:off x="1998" y="2407"/>
              <a:ext cx="1756" cy="300"/>
            </a:xfrm>
            <a:custGeom>
              <a:avLst/>
              <a:gdLst>
                <a:gd name="T0" fmla="*/ 501 w 743"/>
                <a:gd name="T1" fmla="*/ 8 h 127"/>
                <a:gd name="T2" fmla="*/ 478 w 743"/>
                <a:gd name="T3" fmla="*/ 6 h 127"/>
                <a:gd name="T4" fmla="*/ 369 w 743"/>
                <a:gd name="T5" fmla="*/ 0 h 127"/>
                <a:gd name="T6" fmla="*/ 255 w 743"/>
                <a:gd name="T7" fmla="*/ 6 h 127"/>
                <a:gd name="T8" fmla="*/ 245 w 743"/>
                <a:gd name="T9" fmla="*/ 7 h 127"/>
                <a:gd name="T10" fmla="*/ 18 w 743"/>
                <a:gd name="T11" fmla="*/ 94 h 127"/>
                <a:gd name="T12" fmla="*/ 0 w 743"/>
                <a:gd name="T13" fmla="*/ 127 h 127"/>
                <a:gd name="T14" fmla="*/ 743 w 743"/>
                <a:gd name="T15" fmla="*/ 127 h 127"/>
                <a:gd name="T16" fmla="*/ 721 w 743"/>
                <a:gd name="T17" fmla="*/ 89 h 127"/>
                <a:gd name="T18" fmla="*/ 501 w 743"/>
                <a:gd name="T19" fmla="*/ 8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3" h="127">
                  <a:moveTo>
                    <a:pt x="501" y="8"/>
                  </a:moveTo>
                  <a:cubicBezTo>
                    <a:pt x="494" y="7"/>
                    <a:pt x="486" y="7"/>
                    <a:pt x="478" y="6"/>
                  </a:cubicBezTo>
                  <a:cubicBezTo>
                    <a:pt x="443" y="2"/>
                    <a:pt x="407" y="0"/>
                    <a:pt x="369" y="0"/>
                  </a:cubicBezTo>
                  <a:cubicBezTo>
                    <a:pt x="329" y="0"/>
                    <a:pt x="291" y="2"/>
                    <a:pt x="255" y="6"/>
                  </a:cubicBezTo>
                  <a:cubicBezTo>
                    <a:pt x="252" y="7"/>
                    <a:pt x="248" y="7"/>
                    <a:pt x="245" y="7"/>
                  </a:cubicBezTo>
                  <a:cubicBezTo>
                    <a:pt x="138" y="20"/>
                    <a:pt x="54" y="50"/>
                    <a:pt x="18" y="94"/>
                  </a:cubicBezTo>
                  <a:cubicBezTo>
                    <a:pt x="9" y="104"/>
                    <a:pt x="3" y="115"/>
                    <a:pt x="0" y="127"/>
                  </a:cubicBezTo>
                  <a:cubicBezTo>
                    <a:pt x="743" y="127"/>
                    <a:pt x="743" y="127"/>
                    <a:pt x="743" y="127"/>
                  </a:cubicBezTo>
                  <a:cubicBezTo>
                    <a:pt x="740" y="113"/>
                    <a:pt x="732" y="100"/>
                    <a:pt x="721" y="89"/>
                  </a:cubicBezTo>
                  <a:cubicBezTo>
                    <a:pt x="682" y="49"/>
                    <a:pt x="601" y="21"/>
                    <a:pt x="50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11" name="Group 108"/>
          <p:cNvGrpSpPr>
            <a:grpSpLocks noChangeAspect="1"/>
          </p:cNvGrpSpPr>
          <p:nvPr userDrawn="1"/>
        </p:nvGrpSpPr>
        <p:grpSpPr bwMode="gray">
          <a:xfrm>
            <a:off x="3754120" y="1857652"/>
            <a:ext cx="986434" cy="919563"/>
            <a:chOff x="2247" y="1432"/>
            <a:chExt cx="1265" cy="1451"/>
          </a:xfrm>
          <a:solidFill>
            <a:srgbClr val="194780"/>
          </a:solidFill>
        </p:grpSpPr>
        <p:sp>
          <p:nvSpPr>
            <p:cNvPr id="112" name="Freeform 109"/>
            <p:cNvSpPr>
              <a:spLocks/>
            </p:cNvSpPr>
            <p:nvPr/>
          </p:nvSpPr>
          <p:spPr bwMode="gray">
            <a:xfrm>
              <a:off x="2247" y="1664"/>
              <a:ext cx="1265" cy="1219"/>
            </a:xfrm>
            <a:custGeom>
              <a:avLst/>
              <a:gdLst>
                <a:gd name="T0" fmla="*/ 535 w 536"/>
                <a:gd name="T1" fmla="*/ 243 h 516"/>
                <a:gd name="T2" fmla="*/ 466 w 536"/>
                <a:gd name="T3" fmla="*/ 10 h 516"/>
                <a:gd name="T4" fmla="*/ 452 w 536"/>
                <a:gd name="T5" fmla="*/ 0 h 516"/>
                <a:gd name="T6" fmla="*/ 139 w 536"/>
                <a:gd name="T7" fmla="*/ 0 h 516"/>
                <a:gd name="T8" fmla="*/ 125 w 536"/>
                <a:gd name="T9" fmla="*/ 28 h 516"/>
                <a:gd name="T10" fmla="*/ 431 w 536"/>
                <a:gd name="T11" fmla="*/ 28 h 516"/>
                <a:gd name="T12" fmla="*/ 445 w 536"/>
                <a:gd name="T13" fmla="*/ 37 h 516"/>
                <a:gd name="T14" fmla="*/ 497 w 536"/>
                <a:gd name="T15" fmla="*/ 214 h 516"/>
                <a:gd name="T16" fmla="*/ 490 w 536"/>
                <a:gd name="T17" fmla="*/ 224 h 516"/>
                <a:gd name="T18" fmla="*/ 45 w 536"/>
                <a:gd name="T19" fmla="*/ 224 h 516"/>
                <a:gd name="T20" fmla="*/ 37 w 536"/>
                <a:gd name="T21" fmla="*/ 214 h 516"/>
                <a:gd name="T22" fmla="*/ 90 w 536"/>
                <a:gd name="T23" fmla="*/ 35 h 516"/>
                <a:gd name="T24" fmla="*/ 91 w 536"/>
                <a:gd name="T25" fmla="*/ 34 h 516"/>
                <a:gd name="T26" fmla="*/ 92 w 536"/>
                <a:gd name="T27" fmla="*/ 32 h 516"/>
                <a:gd name="T28" fmla="*/ 109 w 536"/>
                <a:gd name="T29" fmla="*/ 0 h 516"/>
                <a:gd name="T30" fmla="*/ 83 w 536"/>
                <a:gd name="T31" fmla="*/ 0 h 516"/>
                <a:gd name="T32" fmla="*/ 69 w 536"/>
                <a:gd name="T33" fmla="*/ 10 h 516"/>
                <a:gd name="T34" fmla="*/ 0 w 536"/>
                <a:gd name="T35" fmla="*/ 243 h 516"/>
                <a:gd name="T36" fmla="*/ 0 w 536"/>
                <a:gd name="T37" fmla="*/ 247 h 516"/>
                <a:gd name="T38" fmla="*/ 0 w 536"/>
                <a:gd name="T39" fmla="*/ 252 h 516"/>
                <a:gd name="T40" fmla="*/ 11 w 536"/>
                <a:gd name="T41" fmla="*/ 264 h 516"/>
                <a:gd name="T42" fmla="*/ 163 w 536"/>
                <a:gd name="T43" fmla="*/ 264 h 516"/>
                <a:gd name="T44" fmla="*/ 201 w 536"/>
                <a:gd name="T45" fmla="*/ 506 h 516"/>
                <a:gd name="T46" fmla="*/ 265 w 536"/>
                <a:gd name="T47" fmla="*/ 516 h 516"/>
                <a:gd name="T48" fmla="*/ 331 w 536"/>
                <a:gd name="T49" fmla="*/ 506 h 516"/>
                <a:gd name="T50" fmla="*/ 369 w 536"/>
                <a:gd name="T51" fmla="*/ 264 h 516"/>
                <a:gd name="T52" fmla="*/ 524 w 536"/>
                <a:gd name="T53" fmla="*/ 264 h 516"/>
                <a:gd name="T54" fmla="*/ 536 w 536"/>
                <a:gd name="T55" fmla="*/ 252 h 516"/>
                <a:gd name="T56" fmla="*/ 536 w 536"/>
                <a:gd name="T57" fmla="*/ 247 h 516"/>
                <a:gd name="T58" fmla="*/ 535 w 536"/>
                <a:gd name="T59" fmla="*/ 243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6" h="516">
                  <a:moveTo>
                    <a:pt x="535" y="243"/>
                  </a:moveTo>
                  <a:cubicBezTo>
                    <a:pt x="466" y="10"/>
                    <a:pt x="466" y="10"/>
                    <a:pt x="466" y="10"/>
                  </a:cubicBezTo>
                  <a:cubicBezTo>
                    <a:pt x="464" y="4"/>
                    <a:pt x="458" y="0"/>
                    <a:pt x="452" y="0"/>
                  </a:cubicBezTo>
                  <a:cubicBezTo>
                    <a:pt x="139" y="0"/>
                    <a:pt x="139" y="0"/>
                    <a:pt x="139" y="0"/>
                  </a:cubicBezTo>
                  <a:cubicBezTo>
                    <a:pt x="125" y="28"/>
                    <a:pt x="125" y="28"/>
                    <a:pt x="125" y="28"/>
                  </a:cubicBezTo>
                  <a:cubicBezTo>
                    <a:pt x="431" y="28"/>
                    <a:pt x="431" y="28"/>
                    <a:pt x="431" y="28"/>
                  </a:cubicBezTo>
                  <a:cubicBezTo>
                    <a:pt x="437" y="28"/>
                    <a:pt x="443" y="31"/>
                    <a:pt x="445" y="37"/>
                  </a:cubicBezTo>
                  <a:cubicBezTo>
                    <a:pt x="497" y="214"/>
                    <a:pt x="497" y="214"/>
                    <a:pt x="497" y="214"/>
                  </a:cubicBezTo>
                  <a:cubicBezTo>
                    <a:pt x="499" y="220"/>
                    <a:pt x="496" y="224"/>
                    <a:pt x="490" y="224"/>
                  </a:cubicBezTo>
                  <a:cubicBezTo>
                    <a:pt x="45" y="224"/>
                    <a:pt x="45" y="224"/>
                    <a:pt x="45" y="224"/>
                  </a:cubicBezTo>
                  <a:cubicBezTo>
                    <a:pt x="39" y="224"/>
                    <a:pt x="36" y="220"/>
                    <a:pt x="37" y="214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5"/>
                    <a:pt x="91" y="34"/>
                    <a:pt x="91" y="34"/>
                  </a:cubicBezTo>
                  <a:cubicBezTo>
                    <a:pt x="91" y="33"/>
                    <a:pt x="91" y="33"/>
                    <a:pt x="92" y="32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77" y="0"/>
                    <a:pt x="71" y="4"/>
                    <a:pt x="69" y="10"/>
                  </a:cubicBezTo>
                  <a:cubicBezTo>
                    <a:pt x="0" y="243"/>
                    <a:pt x="0" y="243"/>
                    <a:pt x="0" y="243"/>
                  </a:cubicBezTo>
                  <a:cubicBezTo>
                    <a:pt x="0" y="244"/>
                    <a:pt x="0" y="247"/>
                    <a:pt x="0" y="247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0" y="258"/>
                    <a:pt x="5" y="264"/>
                    <a:pt x="11" y="264"/>
                  </a:cubicBezTo>
                  <a:cubicBezTo>
                    <a:pt x="163" y="264"/>
                    <a:pt x="163" y="264"/>
                    <a:pt x="163" y="264"/>
                  </a:cubicBezTo>
                  <a:cubicBezTo>
                    <a:pt x="201" y="506"/>
                    <a:pt x="201" y="506"/>
                    <a:pt x="201" y="506"/>
                  </a:cubicBezTo>
                  <a:cubicBezTo>
                    <a:pt x="201" y="506"/>
                    <a:pt x="205" y="516"/>
                    <a:pt x="265" y="516"/>
                  </a:cubicBezTo>
                  <a:cubicBezTo>
                    <a:pt x="325" y="516"/>
                    <a:pt x="331" y="506"/>
                    <a:pt x="331" y="506"/>
                  </a:cubicBezTo>
                  <a:cubicBezTo>
                    <a:pt x="369" y="264"/>
                    <a:pt x="369" y="264"/>
                    <a:pt x="369" y="264"/>
                  </a:cubicBezTo>
                  <a:cubicBezTo>
                    <a:pt x="524" y="264"/>
                    <a:pt x="524" y="264"/>
                    <a:pt x="524" y="264"/>
                  </a:cubicBezTo>
                  <a:cubicBezTo>
                    <a:pt x="530" y="264"/>
                    <a:pt x="536" y="258"/>
                    <a:pt x="536" y="252"/>
                  </a:cubicBezTo>
                  <a:cubicBezTo>
                    <a:pt x="536" y="247"/>
                    <a:pt x="536" y="247"/>
                    <a:pt x="536" y="247"/>
                  </a:cubicBezTo>
                  <a:cubicBezTo>
                    <a:pt x="536" y="247"/>
                    <a:pt x="535" y="244"/>
                    <a:pt x="535" y="2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3" name="Freeform 110"/>
            <p:cNvSpPr>
              <a:spLocks/>
            </p:cNvSpPr>
            <p:nvPr/>
          </p:nvSpPr>
          <p:spPr bwMode="gray">
            <a:xfrm>
              <a:off x="2353" y="1432"/>
              <a:ext cx="1051" cy="742"/>
            </a:xfrm>
            <a:custGeom>
              <a:avLst/>
              <a:gdLst>
                <a:gd name="T0" fmla="*/ 54 w 445"/>
                <a:gd name="T1" fmla="*/ 134 h 314"/>
                <a:gd name="T2" fmla="*/ 53 w 445"/>
                <a:gd name="T3" fmla="*/ 136 h 314"/>
                <a:gd name="T4" fmla="*/ 53 w 445"/>
                <a:gd name="T5" fmla="*/ 136 h 314"/>
                <a:gd name="T6" fmla="*/ 53 w 445"/>
                <a:gd name="T7" fmla="*/ 137 h 314"/>
                <a:gd name="T8" fmla="*/ 50 w 445"/>
                <a:gd name="T9" fmla="*/ 146 h 314"/>
                <a:gd name="T10" fmla="*/ 0 w 445"/>
                <a:gd name="T11" fmla="*/ 314 h 314"/>
                <a:gd name="T12" fmla="*/ 445 w 445"/>
                <a:gd name="T13" fmla="*/ 314 h 314"/>
                <a:gd name="T14" fmla="*/ 392 w 445"/>
                <a:gd name="T15" fmla="*/ 137 h 314"/>
                <a:gd name="T16" fmla="*/ 386 w 445"/>
                <a:gd name="T17" fmla="*/ 134 h 314"/>
                <a:gd name="T18" fmla="*/ 386 w 445"/>
                <a:gd name="T19" fmla="*/ 134 h 314"/>
                <a:gd name="T20" fmla="*/ 76 w 445"/>
                <a:gd name="T21" fmla="*/ 134 h 314"/>
                <a:gd name="T22" fmla="*/ 67 w 445"/>
                <a:gd name="T23" fmla="*/ 134 h 314"/>
                <a:gd name="T24" fmla="*/ 81 w 445"/>
                <a:gd name="T25" fmla="*/ 107 h 314"/>
                <a:gd name="T26" fmla="*/ 85 w 445"/>
                <a:gd name="T27" fmla="*/ 98 h 314"/>
                <a:gd name="T28" fmla="*/ 96 w 445"/>
                <a:gd name="T29" fmla="*/ 78 h 314"/>
                <a:gd name="T30" fmla="*/ 108 w 445"/>
                <a:gd name="T31" fmla="*/ 67 h 314"/>
                <a:gd name="T32" fmla="*/ 148 w 445"/>
                <a:gd name="T33" fmla="*/ 52 h 314"/>
                <a:gd name="T34" fmla="*/ 168 w 445"/>
                <a:gd name="T35" fmla="*/ 57 h 314"/>
                <a:gd name="T36" fmla="*/ 221 w 445"/>
                <a:gd name="T37" fmla="*/ 41 h 314"/>
                <a:gd name="T38" fmla="*/ 235 w 445"/>
                <a:gd name="T39" fmla="*/ 16 h 314"/>
                <a:gd name="T40" fmla="*/ 235 w 445"/>
                <a:gd name="T41" fmla="*/ 16 h 314"/>
                <a:gd name="T42" fmla="*/ 209 w 445"/>
                <a:gd name="T43" fmla="*/ 3 h 314"/>
                <a:gd name="T44" fmla="*/ 157 w 445"/>
                <a:gd name="T45" fmla="*/ 19 h 314"/>
                <a:gd name="T46" fmla="*/ 143 w 445"/>
                <a:gd name="T47" fmla="*/ 42 h 314"/>
                <a:gd name="T48" fmla="*/ 104 w 445"/>
                <a:gd name="T49" fmla="*/ 57 h 314"/>
                <a:gd name="T50" fmla="*/ 86 w 445"/>
                <a:gd name="T51" fmla="*/ 73 h 314"/>
                <a:gd name="T52" fmla="*/ 65 w 445"/>
                <a:gd name="T53" fmla="*/ 113 h 314"/>
                <a:gd name="T54" fmla="*/ 59 w 445"/>
                <a:gd name="T55" fmla="*/ 124 h 314"/>
                <a:gd name="T56" fmla="*/ 54 w 445"/>
                <a:gd name="T57" fmla="*/ 13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45" h="314">
                  <a:moveTo>
                    <a:pt x="54" y="134"/>
                  </a:moveTo>
                  <a:cubicBezTo>
                    <a:pt x="53" y="135"/>
                    <a:pt x="53" y="135"/>
                    <a:pt x="53" y="136"/>
                  </a:cubicBezTo>
                  <a:cubicBezTo>
                    <a:pt x="53" y="136"/>
                    <a:pt x="53" y="136"/>
                    <a:pt x="53" y="136"/>
                  </a:cubicBezTo>
                  <a:cubicBezTo>
                    <a:pt x="53" y="136"/>
                    <a:pt x="53" y="137"/>
                    <a:pt x="53" y="137"/>
                  </a:cubicBezTo>
                  <a:cubicBezTo>
                    <a:pt x="50" y="146"/>
                    <a:pt x="50" y="146"/>
                    <a:pt x="50" y="146"/>
                  </a:cubicBezTo>
                  <a:cubicBezTo>
                    <a:pt x="0" y="314"/>
                    <a:pt x="0" y="314"/>
                    <a:pt x="0" y="314"/>
                  </a:cubicBezTo>
                  <a:cubicBezTo>
                    <a:pt x="445" y="314"/>
                    <a:pt x="445" y="314"/>
                    <a:pt x="445" y="314"/>
                  </a:cubicBezTo>
                  <a:cubicBezTo>
                    <a:pt x="392" y="137"/>
                    <a:pt x="392" y="137"/>
                    <a:pt x="392" y="137"/>
                  </a:cubicBezTo>
                  <a:cubicBezTo>
                    <a:pt x="391" y="134"/>
                    <a:pt x="388" y="134"/>
                    <a:pt x="386" y="134"/>
                  </a:cubicBezTo>
                  <a:cubicBezTo>
                    <a:pt x="386" y="134"/>
                    <a:pt x="386" y="134"/>
                    <a:pt x="386" y="134"/>
                  </a:cubicBezTo>
                  <a:cubicBezTo>
                    <a:pt x="76" y="134"/>
                    <a:pt x="76" y="134"/>
                    <a:pt x="76" y="134"/>
                  </a:cubicBezTo>
                  <a:cubicBezTo>
                    <a:pt x="67" y="134"/>
                    <a:pt x="67" y="134"/>
                    <a:pt x="67" y="134"/>
                  </a:cubicBezTo>
                  <a:cubicBezTo>
                    <a:pt x="81" y="107"/>
                    <a:pt x="81" y="107"/>
                    <a:pt x="81" y="107"/>
                  </a:cubicBezTo>
                  <a:cubicBezTo>
                    <a:pt x="85" y="98"/>
                    <a:pt x="85" y="98"/>
                    <a:pt x="85" y="98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98" y="74"/>
                    <a:pt x="104" y="69"/>
                    <a:pt x="108" y="67"/>
                  </a:cubicBezTo>
                  <a:cubicBezTo>
                    <a:pt x="148" y="52"/>
                    <a:pt x="148" y="52"/>
                    <a:pt x="148" y="52"/>
                  </a:cubicBezTo>
                  <a:cubicBezTo>
                    <a:pt x="153" y="57"/>
                    <a:pt x="161" y="59"/>
                    <a:pt x="168" y="57"/>
                  </a:cubicBezTo>
                  <a:cubicBezTo>
                    <a:pt x="221" y="41"/>
                    <a:pt x="221" y="41"/>
                    <a:pt x="221" y="41"/>
                  </a:cubicBezTo>
                  <a:cubicBezTo>
                    <a:pt x="231" y="38"/>
                    <a:pt x="238" y="27"/>
                    <a:pt x="235" y="16"/>
                  </a:cubicBezTo>
                  <a:cubicBezTo>
                    <a:pt x="235" y="16"/>
                    <a:pt x="235" y="16"/>
                    <a:pt x="235" y="16"/>
                  </a:cubicBezTo>
                  <a:cubicBezTo>
                    <a:pt x="232" y="5"/>
                    <a:pt x="220" y="0"/>
                    <a:pt x="209" y="3"/>
                  </a:cubicBezTo>
                  <a:cubicBezTo>
                    <a:pt x="157" y="19"/>
                    <a:pt x="157" y="19"/>
                    <a:pt x="157" y="19"/>
                  </a:cubicBezTo>
                  <a:cubicBezTo>
                    <a:pt x="146" y="22"/>
                    <a:pt x="140" y="32"/>
                    <a:pt x="143" y="42"/>
                  </a:cubicBezTo>
                  <a:cubicBezTo>
                    <a:pt x="104" y="57"/>
                    <a:pt x="104" y="57"/>
                    <a:pt x="104" y="57"/>
                  </a:cubicBezTo>
                  <a:cubicBezTo>
                    <a:pt x="98" y="60"/>
                    <a:pt x="90" y="67"/>
                    <a:pt x="86" y="73"/>
                  </a:cubicBezTo>
                  <a:cubicBezTo>
                    <a:pt x="65" y="113"/>
                    <a:pt x="65" y="113"/>
                    <a:pt x="65" y="113"/>
                  </a:cubicBezTo>
                  <a:cubicBezTo>
                    <a:pt x="59" y="124"/>
                    <a:pt x="59" y="124"/>
                    <a:pt x="59" y="124"/>
                  </a:cubicBezTo>
                  <a:lnTo>
                    <a:pt x="54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14" name="Group 59"/>
          <p:cNvGrpSpPr/>
          <p:nvPr userDrawn="1"/>
        </p:nvGrpSpPr>
        <p:grpSpPr>
          <a:xfrm>
            <a:off x="580281" y="4714598"/>
            <a:ext cx="775339" cy="719107"/>
            <a:chOff x="-2713038" y="2130426"/>
            <a:chExt cx="1517651" cy="1731962"/>
          </a:xfrm>
        </p:grpSpPr>
        <p:sp>
          <p:nvSpPr>
            <p:cNvPr id="115" name="Freeform 90"/>
            <p:cNvSpPr>
              <a:spLocks/>
            </p:cNvSpPr>
            <p:nvPr/>
          </p:nvSpPr>
          <p:spPr bwMode="auto">
            <a:xfrm>
              <a:off x="-2713038" y="2130426"/>
              <a:ext cx="1517651" cy="1731962"/>
            </a:xfrm>
            <a:custGeom>
              <a:avLst/>
              <a:gdLst>
                <a:gd name="T0" fmla="*/ 395 w 405"/>
                <a:gd name="T1" fmla="*/ 413 h 462"/>
                <a:gd name="T2" fmla="*/ 280 w 405"/>
                <a:gd name="T3" fmla="*/ 272 h 462"/>
                <a:gd name="T4" fmla="*/ 323 w 405"/>
                <a:gd name="T5" fmla="*/ 160 h 462"/>
                <a:gd name="T6" fmla="*/ 159 w 405"/>
                <a:gd name="T7" fmla="*/ 1 h 462"/>
                <a:gd name="T8" fmla="*/ 1 w 405"/>
                <a:gd name="T9" fmla="*/ 165 h 462"/>
                <a:gd name="T10" fmla="*/ 165 w 405"/>
                <a:gd name="T11" fmla="*/ 323 h 462"/>
                <a:gd name="T12" fmla="*/ 235 w 405"/>
                <a:gd name="T13" fmla="*/ 306 h 462"/>
                <a:gd name="T14" fmla="*/ 351 w 405"/>
                <a:gd name="T15" fmla="*/ 448 h 462"/>
                <a:gd name="T16" fmla="*/ 391 w 405"/>
                <a:gd name="T17" fmla="*/ 452 h 462"/>
                <a:gd name="T18" fmla="*/ 395 w 405"/>
                <a:gd name="T19" fmla="*/ 413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5" h="462">
                  <a:moveTo>
                    <a:pt x="395" y="413"/>
                  </a:moveTo>
                  <a:cubicBezTo>
                    <a:pt x="280" y="272"/>
                    <a:pt x="280" y="272"/>
                    <a:pt x="280" y="272"/>
                  </a:cubicBezTo>
                  <a:cubicBezTo>
                    <a:pt x="307" y="242"/>
                    <a:pt x="324" y="203"/>
                    <a:pt x="323" y="160"/>
                  </a:cubicBezTo>
                  <a:cubicBezTo>
                    <a:pt x="322" y="71"/>
                    <a:pt x="248" y="0"/>
                    <a:pt x="159" y="1"/>
                  </a:cubicBezTo>
                  <a:cubicBezTo>
                    <a:pt x="71" y="3"/>
                    <a:pt x="0" y="76"/>
                    <a:pt x="1" y="165"/>
                  </a:cubicBezTo>
                  <a:cubicBezTo>
                    <a:pt x="2" y="254"/>
                    <a:pt x="76" y="325"/>
                    <a:pt x="165" y="323"/>
                  </a:cubicBezTo>
                  <a:cubicBezTo>
                    <a:pt x="190" y="323"/>
                    <a:pt x="214" y="317"/>
                    <a:pt x="235" y="306"/>
                  </a:cubicBezTo>
                  <a:cubicBezTo>
                    <a:pt x="351" y="448"/>
                    <a:pt x="351" y="448"/>
                    <a:pt x="351" y="448"/>
                  </a:cubicBezTo>
                  <a:cubicBezTo>
                    <a:pt x="361" y="460"/>
                    <a:pt x="379" y="462"/>
                    <a:pt x="391" y="452"/>
                  </a:cubicBezTo>
                  <a:cubicBezTo>
                    <a:pt x="403" y="443"/>
                    <a:pt x="405" y="425"/>
                    <a:pt x="395" y="413"/>
                  </a:cubicBezTo>
                  <a:close/>
                </a:path>
              </a:pathLst>
            </a:custGeom>
            <a:solidFill>
              <a:srgbClr val="19478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6" name="Freeform 91"/>
            <p:cNvSpPr>
              <a:spLocks/>
            </p:cNvSpPr>
            <p:nvPr/>
          </p:nvSpPr>
          <p:spPr bwMode="auto">
            <a:xfrm>
              <a:off x="-2492375" y="2352675"/>
              <a:ext cx="773113" cy="771525"/>
            </a:xfrm>
            <a:custGeom>
              <a:avLst/>
              <a:gdLst>
                <a:gd name="T0" fmla="*/ 205 w 206"/>
                <a:gd name="T1" fmla="*/ 102 h 206"/>
                <a:gd name="T2" fmla="*/ 105 w 206"/>
                <a:gd name="T3" fmla="*/ 206 h 206"/>
                <a:gd name="T4" fmla="*/ 1 w 206"/>
                <a:gd name="T5" fmla="*/ 105 h 206"/>
                <a:gd name="T6" fmla="*/ 101 w 206"/>
                <a:gd name="T7" fmla="*/ 1 h 206"/>
                <a:gd name="T8" fmla="*/ 205 w 206"/>
                <a:gd name="T9" fmla="*/ 102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6" h="206">
                  <a:moveTo>
                    <a:pt x="205" y="102"/>
                  </a:moveTo>
                  <a:cubicBezTo>
                    <a:pt x="206" y="158"/>
                    <a:pt x="161" y="205"/>
                    <a:pt x="105" y="206"/>
                  </a:cubicBezTo>
                  <a:cubicBezTo>
                    <a:pt x="48" y="206"/>
                    <a:pt x="2" y="161"/>
                    <a:pt x="1" y="105"/>
                  </a:cubicBezTo>
                  <a:cubicBezTo>
                    <a:pt x="0" y="49"/>
                    <a:pt x="45" y="2"/>
                    <a:pt x="101" y="1"/>
                  </a:cubicBezTo>
                  <a:cubicBezTo>
                    <a:pt x="158" y="0"/>
                    <a:pt x="204" y="45"/>
                    <a:pt x="205" y="10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17" name="Group 62"/>
          <p:cNvGrpSpPr/>
          <p:nvPr userDrawn="1"/>
        </p:nvGrpSpPr>
        <p:grpSpPr>
          <a:xfrm>
            <a:off x="2237691" y="2089315"/>
            <a:ext cx="616930" cy="500234"/>
            <a:chOff x="-1654175" y="-3175"/>
            <a:chExt cx="1381125" cy="1377950"/>
          </a:xfrm>
          <a:solidFill>
            <a:schemeClr val="accent1"/>
          </a:solidFill>
        </p:grpSpPr>
        <p:sp>
          <p:nvSpPr>
            <p:cNvPr id="118" name="Freeform 96"/>
            <p:cNvSpPr>
              <a:spLocks/>
            </p:cNvSpPr>
            <p:nvPr/>
          </p:nvSpPr>
          <p:spPr bwMode="auto">
            <a:xfrm>
              <a:off x="-1654175" y="476250"/>
              <a:ext cx="1381125" cy="404813"/>
            </a:xfrm>
            <a:custGeom>
              <a:avLst/>
              <a:gdLst>
                <a:gd name="T0" fmla="*/ 368 w 368"/>
                <a:gd name="T1" fmla="*/ 92 h 108"/>
                <a:gd name="T2" fmla="*/ 352 w 368"/>
                <a:gd name="T3" fmla="*/ 108 h 108"/>
                <a:gd name="T4" fmla="*/ 16 w 368"/>
                <a:gd name="T5" fmla="*/ 108 h 108"/>
                <a:gd name="T6" fmla="*/ 0 w 368"/>
                <a:gd name="T7" fmla="*/ 92 h 108"/>
                <a:gd name="T8" fmla="*/ 0 w 368"/>
                <a:gd name="T9" fmla="*/ 16 h 108"/>
                <a:gd name="T10" fmla="*/ 16 w 368"/>
                <a:gd name="T11" fmla="*/ 0 h 108"/>
                <a:gd name="T12" fmla="*/ 352 w 368"/>
                <a:gd name="T13" fmla="*/ 0 h 108"/>
                <a:gd name="T14" fmla="*/ 368 w 368"/>
                <a:gd name="T15" fmla="*/ 16 h 108"/>
                <a:gd name="T16" fmla="*/ 368 w 368"/>
                <a:gd name="T17" fmla="*/ 9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8" h="108">
                  <a:moveTo>
                    <a:pt x="368" y="92"/>
                  </a:moveTo>
                  <a:cubicBezTo>
                    <a:pt x="368" y="101"/>
                    <a:pt x="361" y="108"/>
                    <a:pt x="352" y="108"/>
                  </a:cubicBezTo>
                  <a:cubicBezTo>
                    <a:pt x="16" y="108"/>
                    <a:pt x="16" y="108"/>
                    <a:pt x="16" y="108"/>
                  </a:cubicBezTo>
                  <a:cubicBezTo>
                    <a:pt x="7" y="108"/>
                    <a:pt x="0" y="101"/>
                    <a:pt x="0" y="9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352" y="0"/>
                    <a:pt x="352" y="0"/>
                    <a:pt x="352" y="0"/>
                  </a:cubicBezTo>
                  <a:cubicBezTo>
                    <a:pt x="361" y="0"/>
                    <a:pt x="368" y="7"/>
                    <a:pt x="368" y="16"/>
                  </a:cubicBezTo>
                  <a:lnTo>
                    <a:pt x="368" y="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9" name="Freeform 97"/>
            <p:cNvSpPr>
              <a:spLocks/>
            </p:cNvSpPr>
            <p:nvPr/>
          </p:nvSpPr>
          <p:spPr bwMode="auto">
            <a:xfrm>
              <a:off x="-1158875" y="-3175"/>
              <a:ext cx="406400" cy="1377950"/>
            </a:xfrm>
            <a:custGeom>
              <a:avLst/>
              <a:gdLst>
                <a:gd name="T0" fmla="*/ 108 w 108"/>
                <a:gd name="T1" fmla="*/ 352 h 368"/>
                <a:gd name="T2" fmla="*/ 92 w 108"/>
                <a:gd name="T3" fmla="*/ 368 h 368"/>
                <a:gd name="T4" fmla="*/ 16 w 108"/>
                <a:gd name="T5" fmla="*/ 368 h 368"/>
                <a:gd name="T6" fmla="*/ 0 w 108"/>
                <a:gd name="T7" fmla="*/ 352 h 368"/>
                <a:gd name="T8" fmla="*/ 0 w 108"/>
                <a:gd name="T9" fmla="*/ 16 h 368"/>
                <a:gd name="T10" fmla="*/ 16 w 108"/>
                <a:gd name="T11" fmla="*/ 0 h 368"/>
                <a:gd name="T12" fmla="*/ 92 w 108"/>
                <a:gd name="T13" fmla="*/ 0 h 368"/>
                <a:gd name="T14" fmla="*/ 108 w 108"/>
                <a:gd name="T15" fmla="*/ 16 h 368"/>
                <a:gd name="T16" fmla="*/ 108 w 108"/>
                <a:gd name="T17" fmla="*/ 35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368">
                  <a:moveTo>
                    <a:pt x="108" y="352"/>
                  </a:moveTo>
                  <a:cubicBezTo>
                    <a:pt x="108" y="361"/>
                    <a:pt x="101" y="368"/>
                    <a:pt x="92" y="368"/>
                  </a:cubicBezTo>
                  <a:cubicBezTo>
                    <a:pt x="16" y="368"/>
                    <a:pt x="16" y="368"/>
                    <a:pt x="16" y="368"/>
                  </a:cubicBezTo>
                  <a:cubicBezTo>
                    <a:pt x="7" y="368"/>
                    <a:pt x="0" y="361"/>
                    <a:pt x="0" y="35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01" y="0"/>
                    <a:pt x="108" y="7"/>
                    <a:pt x="108" y="16"/>
                  </a:cubicBezTo>
                  <a:lnTo>
                    <a:pt x="108" y="3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20" name="Group 65"/>
          <p:cNvGrpSpPr/>
          <p:nvPr userDrawn="1"/>
        </p:nvGrpSpPr>
        <p:grpSpPr>
          <a:xfrm>
            <a:off x="583411" y="714421"/>
            <a:ext cx="644210" cy="523557"/>
            <a:chOff x="-2814638" y="5003800"/>
            <a:chExt cx="2025650" cy="2025650"/>
          </a:xfrm>
          <a:solidFill>
            <a:srgbClr val="194780"/>
          </a:solidFill>
        </p:grpSpPr>
        <p:sp>
          <p:nvSpPr>
            <p:cNvPr id="121" name="Freeform 118"/>
            <p:cNvSpPr>
              <a:spLocks/>
            </p:cNvSpPr>
            <p:nvPr/>
          </p:nvSpPr>
          <p:spPr bwMode="auto">
            <a:xfrm>
              <a:off x="-1943101" y="5003800"/>
              <a:ext cx="284163" cy="2025650"/>
            </a:xfrm>
            <a:custGeom>
              <a:avLst/>
              <a:gdLst>
                <a:gd name="T0" fmla="*/ 76 w 76"/>
                <a:gd name="T1" fmla="*/ 502 h 540"/>
                <a:gd name="T2" fmla="*/ 38 w 76"/>
                <a:gd name="T3" fmla="*/ 540 h 540"/>
                <a:gd name="T4" fmla="*/ 38 w 76"/>
                <a:gd name="T5" fmla="*/ 540 h 540"/>
                <a:gd name="T6" fmla="*/ 0 w 76"/>
                <a:gd name="T7" fmla="*/ 502 h 540"/>
                <a:gd name="T8" fmla="*/ 0 w 76"/>
                <a:gd name="T9" fmla="*/ 38 h 540"/>
                <a:gd name="T10" fmla="*/ 38 w 76"/>
                <a:gd name="T11" fmla="*/ 0 h 540"/>
                <a:gd name="T12" fmla="*/ 38 w 76"/>
                <a:gd name="T13" fmla="*/ 0 h 540"/>
                <a:gd name="T14" fmla="*/ 76 w 76"/>
                <a:gd name="T15" fmla="*/ 38 h 540"/>
                <a:gd name="T16" fmla="*/ 76 w 76"/>
                <a:gd name="T17" fmla="*/ 502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540">
                  <a:moveTo>
                    <a:pt x="76" y="502"/>
                  </a:moveTo>
                  <a:cubicBezTo>
                    <a:pt x="76" y="523"/>
                    <a:pt x="59" y="540"/>
                    <a:pt x="38" y="540"/>
                  </a:cubicBezTo>
                  <a:cubicBezTo>
                    <a:pt x="38" y="540"/>
                    <a:pt x="38" y="540"/>
                    <a:pt x="38" y="540"/>
                  </a:cubicBezTo>
                  <a:cubicBezTo>
                    <a:pt x="17" y="540"/>
                    <a:pt x="0" y="523"/>
                    <a:pt x="0" y="50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17"/>
                    <a:pt x="17" y="0"/>
                    <a:pt x="38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59" y="0"/>
                    <a:pt x="76" y="17"/>
                    <a:pt x="76" y="38"/>
                  </a:cubicBezTo>
                  <a:lnTo>
                    <a:pt x="76" y="5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2" name="Freeform 119"/>
            <p:cNvSpPr>
              <a:spLocks/>
            </p:cNvSpPr>
            <p:nvPr/>
          </p:nvSpPr>
          <p:spPr bwMode="auto">
            <a:xfrm>
              <a:off x="-2573338" y="5243513"/>
              <a:ext cx="1544638" cy="1546225"/>
            </a:xfrm>
            <a:custGeom>
              <a:avLst/>
              <a:gdLst>
                <a:gd name="T0" fmla="*/ 69 w 412"/>
                <a:gd name="T1" fmla="*/ 397 h 412"/>
                <a:gd name="T2" fmla="*/ 15 w 412"/>
                <a:gd name="T3" fmla="*/ 397 h 412"/>
                <a:gd name="T4" fmla="*/ 15 w 412"/>
                <a:gd name="T5" fmla="*/ 397 h 412"/>
                <a:gd name="T6" fmla="*/ 15 w 412"/>
                <a:gd name="T7" fmla="*/ 343 h 412"/>
                <a:gd name="T8" fmla="*/ 343 w 412"/>
                <a:gd name="T9" fmla="*/ 15 h 412"/>
                <a:gd name="T10" fmla="*/ 397 w 412"/>
                <a:gd name="T11" fmla="*/ 15 h 412"/>
                <a:gd name="T12" fmla="*/ 397 w 412"/>
                <a:gd name="T13" fmla="*/ 15 h 412"/>
                <a:gd name="T14" fmla="*/ 397 w 412"/>
                <a:gd name="T15" fmla="*/ 69 h 412"/>
                <a:gd name="T16" fmla="*/ 69 w 412"/>
                <a:gd name="T17" fmla="*/ 397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2" h="412">
                  <a:moveTo>
                    <a:pt x="69" y="397"/>
                  </a:moveTo>
                  <a:cubicBezTo>
                    <a:pt x="54" y="412"/>
                    <a:pt x="30" y="412"/>
                    <a:pt x="15" y="397"/>
                  </a:cubicBezTo>
                  <a:cubicBezTo>
                    <a:pt x="15" y="397"/>
                    <a:pt x="15" y="397"/>
                    <a:pt x="15" y="397"/>
                  </a:cubicBezTo>
                  <a:cubicBezTo>
                    <a:pt x="0" y="382"/>
                    <a:pt x="0" y="358"/>
                    <a:pt x="15" y="343"/>
                  </a:cubicBezTo>
                  <a:cubicBezTo>
                    <a:pt x="343" y="15"/>
                    <a:pt x="343" y="15"/>
                    <a:pt x="343" y="15"/>
                  </a:cubicBezTo>
                  <a:cubicBezTo>
                    <a:pt x="358" y="0"/>
                    <a:pt x="382" y="0"/>
                    <a:pt x="397" y="15"/>
                  </a:cubicBezTo>
                  <a:cubicBezTo>
                    <a:pt x="397" y="15"/>
                    <a:pt x="397" y="15"/>
                    <a:pt x="397" y="15"/>
                  </a:cubicBezTo>
                  <a:cubicBezTo>
                    <a:pt x="412" y="30"/>
                    <a:pt x="412" y="54"/>
                    <a:pt x="397" y="69"/>
                  </a:cubicBezTo>
                  <a:lnTo>
                    <a:pt x="69" y="3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3" name="Freeform 120"/>
            <p:cNvSpPr>
              <a:spLocks/>
            </p:cNvSpPr>
            <p:nvPr/>
          </p:nvSpPr>
          <p:spPr bwMode="auto">
            <a:xfrm>
              <a:off x="-2573338" y="5243513"/>
              <a:ext cx="1544638" cy="1546225"/>
            </a:xfrm>
            <a:custGeom>
              <a:avLst/>
              <a:gdLst>
                <a:gd name="T0" fmla="*/ 15 w 412"/>
                <a:gd name="T1" fmla="*/ 69 h 412"/>
                <a:gd name="T2" fmla="*/ 15 w 412"/>
                <a:gd name="T3" fmla="*/ 15 h 412"/>
                <a:gd name="T4" fmla="*/ 15 w 412"/>
                <a:gd name="T5" fmla="*/ 15 h 412"/>
                <a:gd name="T6" fmla="*/ 69 w 412"/>
                <a:gd name="T7" fmla="*/ 15 h 412"/>
                <a:gd name="T8" fmla="*/ 397 w 412"/>
                <a:gd name="T9" fmla="*/ 343 h 412"/>
                <a:gd name="T10" fmla="*/ 397 w 412"/>
                <a:gd name="T11" fmla="*/ 397 h 412"/>
                <a:gd name="T12" fmla="*/ 397 w 412"/>
                <a:gd name="T13" fmla="*/ 397 h 412"/>
                <a:gd name="T14" fmla="*/ 343 w 412"/>
                <a:gd name="T15" fmla="*/ 397 h 412"/>
                <a:gd name="T16" fmla="*/ 15 w 412"/>
                <a:gd name="T17" fmla="*/ 69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2" h="412">
                  <a:moveTo>
                    <a:pt x="15" y="69"/>
                  </a:moveTo>
                  <a:cubicBezTo>
                    <a:pt x="0" y="54"/>
                    <a:pt x="0" y="30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30" y="0"/>
                    <a:pt x="54" y="0"/>
                    <a:pt x="69" y="15"/>
                  </a:cubicBezTo>
                  <a:cubicBezTo>
                    <a:pt x="397" y="343"/>
                    <a:pt x="397" y="343"/>
                    <a:pt x="397" y="343"/>
                  </a:cubicBezTo>
                  <a:cubicBezTo>
                    <a:pt x="412" y="358"/>
                    <a:pt x="412" y="382"/>
                    <a:pt x="397" y="397"/>
                  </a:cubicBezTo>
                  <a:cubicBezTo>
                    <a:pt x="397" y="397"/>
                    <a:pt x="397" y="397"/>
                    <a:pt x="397" y="397"/>
                  </a:cubicBezTo>
                  <a:cubicBezTo>
                    <a:pt x="382" y="412"/>
                    <a:pt x="358" y="412"/>
                    <a:pt x="343" y="397"/>
                  </a:cubicBezTo>
                  <a:lnTo>
                    <a:pt x="15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4" name="Freeform 121"/>
            <p:cNvSpPr>
              <a:spLocks/>
            </p:cNvSpPr>
            <p:nvPr/>
          </p:nvSpPr>
          <p:spPr bwMode="auto">
            <a:xfrm>
              <a:off x="-2814638" y="5873750"/>
              <a:ext cx="2025650" cy="285750"/>
            </a:xfrm>
            <a:custGeom>
              <a:avLst/>
              <a:gdLst>
                <a:gd name="T0" fmla="*/ 540 w 540"/>
                <a:gd name="T1" fmla="*/ 38 h 76"/>
                <a:gd name="T2" fmla="*/ 502 w 540"/>
                <a:gd name="T3" fmla="*/ 76 h 76"/>
                <a:gd name="T4" fmla="*/ 38 w 540"/>
                <a:gd name="T5" fmla="*/ 76 h 76"/>
                <a:gd name="T6" fmla="*/ 0 w 540"/>
                <a:gd name="T7" fmla="*/ 38 h 76"/>
                <a:gd name="T8" fmla="*/ 0 w 540"/>
                <a:gd name="T9" fmla="*/ 38 h 76"/>
                <a:gd name="T10" fmla="*/ 38 w 540"/>
                <a:gd name="T11" fmla="*/ 0 h 76"/>
                <a:gd name="T12" fmla="*/ 502 w 540"/>
                <a:gd name="T13" fmla="*/ 0 h 76"/>
                <a:gd name="T14" fmla="*/ 540 w 540"/>
                <a:gd name="T15" fmla="*/ 38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0" h="76">
                  <a:moveTo>
                    <a:pt x="540" y="38"/>
                  </a:moveTo>
                  <a:cubicBezTo>
                    <a:pt x="540" y="59"/>
                    <a:pt x="523" y="76"/>
                    <a:pt x="502" y="76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17" y="76"/>
                    <a:pt x="0" y="59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17"/>
                    <a:pt x="17" y="0"/>
                    <a:pt x="38" y="0"/>
                  </a:cubicBezTo>
                  <a:cubicBezTo>
                    <a:pt x="502" y="0"/>
                    <a:pt x="502" y="0"/>
                    <a:pt x="502" y="0"/>
                  </a:cubicBezTo>
                  <a:cubicBezTo>
                    <a:pt x="523" y="0"/>
                    <a:pt x="540" y="17"/>
                    <a:pt x="540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25" name="Group 23"/>
          <p:cNvGrpSpPr>
            <a:grpSpLocks noChangeAspect="1"/>
          </p:cNvGrpSpPr>
          <p:nvPr userDrawn="1"/>
        </p:nvGrpSpPr>
        <p:grpSpPr bwMode="auto">
          <a:xfrm>
            <a:off x="10131069" y="586516"/>
            <a:ext cx="1290988" cy="557697"/>
            <a:chOff x="1819" y="1596"/>
            <a:chExt cx="2124" cy="1129"/>
          </a:xfrm>
          <a:solidFill>
            <a:schemeClr val="accent1"/>
          </a:solidFill>
        </p:grpSpPr>
        <p:sp>
          <p:nvSpPr>
            <p:cNvPr id="126" name="Freeform 24"/>
            <p:cNvSpPr>
              <a:spLocks noEditPoints="1"/>
            </p:cNvSpPr>
            <p:nvPr/>
          </p:nvSpPr>
          <p:spPr bwMode="auto">
            <a:xfrm>
              <a:off x="1819" y="1596"/>
              <a:ext cx="1307" cy="1129"/>
            </a:xfrm>
            <a:custGeom>
              <a:avLst/>
              <a:gdLst>
                <a:gd name="T0" fmla="*/ 553 w 553"/>
                <a:gd name="T1" fmla="*/ 478 h 478"/>
                <a:gd name="T2" fmla="*/ 296 w 553"/>
                <a:gd name="T3" fmla="*/ 478 h 478"/>
                <a:gd name="T4" fmla="*/ 296 w 553"/>
                <a:gd name="T5" fmla="*/ 452 h 478"/>
                <a:gd name="T6" fmla="*/ 338 w 553"/>
                <a:gd name="T7" fmla="*/ 446 h 478"/>
                <a:gd name="T8" fmla="*/ 362 w 553"/>
                <a:gd name="T9" fmla="*/ 433 h 478"/>
                <a:gd name="T10" fmla="*/ 362 w 553"/>
                <a:gd name="T11" fmla="*/ 427 h 478"/>
                <a:gd name="T12" fmla="*/ 359 w 553"/>
                <a:gd name="T13" fmla="*/ 418 h 478"/>
                <a:gd name="T14" fmla="*/ 319 w 553"/>
                <a:gd name="T15" fmla="*/ 320 h 478"/>
                <a:gd name="T16" fmla="*/ 156 w 553"/>
                <a:gd name="T17" fmla="*/ 320 h 478"/>
                <a:gd name="T18" fmla="*/ 143 w 553"/>
                <a:gd name="T19" fmla="*/ 352 h 478"/>
                <a:gd name="T20" fmla="*/ 132 w 553"/>
                <a:gd name="T21" fmla="*/ 385 h 478"/>
                <a:gd name="T22" fmla="*/ 124 w 553"/>
                <a:gd name="T23" fmla="*/ 412 h 478"/>
                <a:gd name="T24" fmla="*/ 123 w 553"/>
                <a:gd name="T25" fmla="*/ 423 h 478"/>
                <a:gd name="T26" fmla="*/ 139 w 553"/>
                <a:gd name="T27" fmla="*/ 441 h 478"/>
                <a:gd name="T28" fmla="*/ 193 w 553"/>
                <a:gd name="T29" fmla="*/ 452 h 478"/>
                <a:gd name="T30" fmla="*/ 193 w 553"/>
                <a:gd name="T31" fmla="*/ 478 h 478"/>
                <a:gd name="T32" fmla="*/ 0 w 553"/>
                <a:gd name="T33" fmla="*/ 478 h 478"/>
                <a:gd name="T34" fmla="*/ 0 w 553"/>
                <a:gd name="T35" fmla="*/ 452 h 478"/>
                <a:gd name="T36" fmla="*/ 24 w 553"/>
                <a:gd name="T37" fmla="*/ 449 h 478"/>
                <a:gd name="T38" fmla="*/ 46 w 553"/>
                <a:gd name="T39" fmla="*/ 441 h 478"/>
                <a:gd name="T40" fmla="*/ 69 w 553"/>
                <a:gd name="T41" fmla="*/ 421 h 478"/>
                <a:gd name="T42" fmla="*/ 85 w 553"/>
                <a:gd name="T43" fmla="*/ 394 h 478"/>
                <a:gd name="T44" fmla="*/ 162 w 553"/>
                <a:gd name="T45" fmla="*/ 207 h 478"/>
                <a:gd name="T46" fmla="*/ 248 w 553"/>
                <a:gd name="T47" fmla="*/ 0 h 478"/>
                <a:gd name="T48" fmla="*/ 314 w 553"/>
                <a:gd name="T49" fmla="*/ 0 h 478"/>
                <a:gd name="T50" fmla="*/ 416 w 553"/>
                <a:gd name="T51" fmla="*/ 253 h 478"/>
                <a:gd name="T52" fmla="*/ 479 w 553"/>
                <a:gd name="T53" fmla="*/ 407 h 478"/>
                <a:gd name="T54" fmla="*/ 490 w 553"/>
                <a:gd name="T55" fmla="*/ 426 h 478"/>
                <a:gd name="T56" fmla="*/ 509 w 553"/>
                <a:gd name="T57" fmla="*/ 441 h 478"/>
                <a:gd name="T58" fmla="*/ 530 w 553"/>
                <a:gd name="T59" fmla="*/ 449 h 478"/>
                <a:gd name="T60" fmla="*/ 553 w 553"/>
                <a:gd name="T61" fmla="*/ 452 h 478"/>
                <a:gd name="T62" fmla="*/ 553 w 553"/>
                <a:gd name="T63" fmla="*/ 478 h 478"/>
                <a:gd name="T64" fmla="*/ 305 w 553"/>
                <a:gd name="T65" fmla="*/ 288 h 478"/>
                <a:gd name="T66" fmla="*/ 237 w 553"/>
                <a:gd name="T67" fmla="*/ 117 h 478"/>
                <a:gd name="T68" fmla="*/ 169 w 553"/>
                <a:gd name="T69" fmla="*/ 288 h 478"/>
                <a:gd name="T70" fmla="*/ 305 w 553"/>
                <a:gd name="T71" fmla="*/ 288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53" h="478">
                  <a:moveTo>
                    <a:pt x="553" y="478"/>
                  </a:moveTo>
                  <a:cubicBezTo>
                    <a:pt x="296" y="478"/>
                    <a:pt x="296" y="478"/>
                    <a:pt x="296" y="478"/>
                  </a:cubicBezTo>
                  <a:cubicBezTo>
                    <a:pt x="296" y="452"/>
                    <a:pt x="296" y="452"/>
                    <a:pt x="296" y="452"/>
                  </a:cubicBezTo>
                  <a:cubicBezTo>
                    <a:pt x="308" y="451"/>
                    <a:pt x="322" y="449"/>
                    <a:pt x="338" y="446"/>
                  </a:cubicBezTo>
                  <a:cubicBezTo>
                    <a:pt x="354" y="442"/>
                    <a:pt x="362" y="438"/>
                    <a:pt x="362" y="433"/>
                  </a:cubicBezTo>
                  <a:cubicBezTo>
                    <a:pt x="362" y="431"/>
                    <a:pt x="362" y="429"/>
                    <a:pt x="362" y="427"/>
                  </a:cubicBezTo>
                  <a:cubicBezTo>
                    <a:pt x="361" y="425"/>
                    <a:pt x="360" y="422"/>
                    <a:pt x="359" y="418"/>
                  </a:cubicBezTo>
                  <a:cubicBezTo>
                    <a:pt x="319" y="320"/>
                    <a:pt x="319" y="320"/>
                    <a:pt x="319" y="320"/>
                  </a:cubicBezTo>
                  <a:cubicBezTo>
                    <a:pt x="156" y="320"/>
                    <a:pt x="156" y="320"/>
                    <a:pt x="156" y="320"/>
                  </a:cubicBezTo>
                  <a:cubicBezTo>
                    <a:pt x="152" y="330"/>
                    <a:pt x="148" y="340"/>
                    <a:pt x="143" y="352"/>
                  </a:cubicBezTo>
                  <a:cubicBezTo>
                    <a:pt x="139" y="364"/>
                    <a:pt x="135" y="375"/>
                    <a:pt x="132" y="385"/>
                  </a:cubicBezTo>
                  <a:cubicBezTo>
                    <a:pt x="128" y="397"/>
                    <a:pt x="125" y="406"/>
                    <a:pt x="124" y="412"/>
                  </a:cubicBezTo>
                  <a:cubicBezTo>
                    <a:pt x="124" y="417"/>
                    <a:pt x="123" y="421"/>
                    <a:pt x="123" y="423"/>
                  </a:cubicBezTo>
                  <a:cubicBezTo>
                    <a:pt x="123" y="430"/>
                    <a:pt x="128" y="437"/>
                    <a:pt x="139" y="441"/>
                  </a:cubicBezTo>
                  <a:cubicBezTo>
                    <a:pt x="150" y="446"/>
                    <a:pt x="168" y="450"/>
                    <a:pt x="193" y="452"/>
                  </a:cubicBezTo>
                  <a:cubicBezTo>
                    <a:pt x="193" y="478"/>
                    <a:pt x="193" y="478"/>
                    <a:pt x="193" y="478"/>
                  </a:cubicBezTo>
                  <a:cubicBezTo>
                    <a:pt x="0" y="478"/>
                    <a:pt x="0" y="478"/>
                    <a:pt x="0" y="478"/>
                  </a:cubicBezTo>
                  <a:cubicBezTo>
                    <a:pt x="0" y="452"/>
                    <a:pt x="0" y="452"/>
                    <a:pt x="0" y="452"/>
                  </a:cubicBezTo>
                  <a:cubicBezTo>
                    <a:pt x="7" y="452"/>
                    <a:pt x="15" y="451"/>
                    <a:pt x="24" y="449"/>
                  </a:cubicBezTo>
                  <a:cubicBezTo>
                    <a:pt x="33" y="447"/>
                    <a:pt x="41" y="444"/>
                    <a:pt x="46" y="441"/>
                  </a:cubicBezTo>
                  <a:cubicBezTo>
                    <a:pt x="55" y="436"/>
                    <a:pt x="63" y="429"/>
                    <a:pt x="69" y="421"/>
                  </a:cubicBezTo>
                  <a:cubicBezTo>
                    <a:pt x="75" y="414"/>
                    <a:pt x="81" y="404"/>
                    <a:pt x="85" y="394"/>
                  </a:cubicBezTo>
                  <a:cubicBezTo>
                    <a:pt x="111" y="332"/>
                    <a:pt x="136" y="269"/>
                    <a:pt x="162" y="207"/>
                  </a:cubicBezTo>
                  <a:cubicBezTo>
                    <a:pt x="188" y="144"/>
                    <a:pt x="216" y="76"/>
                    <a:pt x="248" y="0"/>
                  </a:cubicBezTo>
                  <a:cubicBezTo>
                    <a:pt x="314" y="0"/>
                    <a:pt x="314" y="0"/>
                    <a:pt x="314" y="0"/>
                  </a:cubicBezTo>
                  <a:cubicBezTo>
                    <a:pt x="357" y="107"/>
                    <a:pt x="391" y="191"/>
                    <a:pt x="416" y="253"/>
                  </a:cubicBezTo>
                  <a:cubicBezTo>
                    <a:pt x="441" y="315"/>
                    <a:pt x="462" y="367"/>
                    <a:pt x="479" y="407"/>
                  </a:cubicBezTo>
                  <a:cubicBezTo>
                    <a:pt x="482" y="414"/>
                    <a:pt x="485" y="420"/>
                    <a:pt x="490" y="426"/>
                  </a:cubicBezTo>
                  <a:cubicBezTo>
                    <a:pt x="494" y="431"/>
                    <a:pt x="501" y="436"/>
                    <a:pt x="509" y="441"/>
                  </a:cubicBezTo>
                  <a:cubicBezTo>
                    <a:pt x="515" y="445"/>
                    <a:pt x="522" y="447"/>
                    <a:pt x="530" y="449"/>
                  </a:cubicBezTo>
                  <a:cubicBezTo>
                    <a:pt x="538" y="451"/>
                    <a:pt x="546" y="452"/>
                    <a:pt x="553" y="452"/>
                  </a:cubicBezTo>
                  <a:lnTo>
                    <a:pt x="553" y="478"/>
                  </a:lnTo>
                  <a:close/>
                  <a:moveTo>
                    <a:pt x="305" y="288"/>
                  </a:moveTo>
                  <a:cubicBezTo>
                    <a:pt x="237" y="117"/>
                    <a:pt x="237" y="117"/>
                    <a:pt x="237" y="117"/>
                  </a:cubicBezTo>
                  <a:cubicBezTo>
                    <a:pt x="169" y="288"/>
                    <a:pt x="169" y="288"/>
                    <a:pt x="169" y="288"/>
                  </a:cubicBezTo>
                  <a:lnTo>
                    <a:pt x="305" y="2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7" name="Freeform 25"/>
            <p:cNvSpPr>
              <a:spLocks/>
            </p:cNvSpPr>
            <p:nvPr/>
          </p:nvSpPr>
          <p:spPr bwMode="auto">
            <a:xfrm>
              <a:off x="2918" y="1608"/>
              <a:ext cx="1025" cy="1115"/>
            </a:xfrm>
            <a:custGeom>
              <a:avLst/>
              <a:gdLst>
                <a:gd name="T0" fmla="*/ 434 w 434"/>
                <a:gd name="T1" fmla="*/ 316 h 472"/>
                <a:gd name="T2" fmla="*/ 409 w 434"/>
                <a:gd name="T3" fmla="*/ 316 h 472"/>
                <a:gd name="T4" fmla="*/ 379 w 434"/>
                <a:gd name="T5" fmla="*/ 373 h 472"/>
                <a:gd name="T6" fmla="*/ 344 w 434"/>
                <a:gd name="T7" fmla="*/ 423 h 472"/>
                <a:gd name="T8" fmla="*/ 315 w 434"/>
                <a:gd name="T9" fmla="*/ 439 h 472"/>
                <a:gd name="T10" fmla="*/ 239 w 434"/>
                <a:gd name="T11" fmla="*/ 444 h 472"/>
                <a:gd name="T12" fmla="*/ 120 w 434"/>
                <a:gd name="T13" fmla="*/ 444 h 472"/>
                <a:gd name="T14" fmla="*/ 424 w 434"/>
                <a:gd name="T15" fmla="*/ 22 h 472"/>
                <a:gd name="T16" fmla="*/ 424 w 434"/>
                <a:gd name="T17" fmla="*/ 0 h 472"/>
                <a:gd name="T18" fmla="*/ 15 w 434"/>
                <a:gd name="T19" fmla="*/ 0 h 472"/>
                <a:gd name="T20" fmla="*/ 0 w 434"/>
                <a:gd name="T21" fmla="*/ 144 h 472"/>
                <a:gd name="T22" fmla="*/ 27 w 434"/>
                <a:gd name="T23" fmla="*/ 144 h 472"/>
                <a:gd name="T24" fmla="*/ 73 w 434"/>
                <a:gd name="T25" fmla="*/ 69 h 472"/>
                <a:gd name="T26" fmla="*/ 105 w 434"/>
                <a:gd name="T27" fmla="*/ 41 h 472"/>
                <a:gd name="T28" fmla="*/ 131 w 434"/>
                <a:gd name="T29" fmla="*/ 34 h 472"/>
                <a:gd name="T30" fmla="*/ 177 w 434"/>
                <a:gd name="T31" fmla="*/ 32 h 472"/>
                <a:gd name="T32" fmla="*/ 280 w 434"/>
                <a:gd name="T33" fmla="*/ 32 h 472"/>
                <a:gd name="T34" fmla="*/ 24 w 434"/>
                <a:gd name="T35" fmla="*/ 386 h 472"/>
                <a:gd name="T36" fmla="*/ 29 w 434"/>
                <a:gd name="T37" fmla="*/ 396 h 472"/>
                <a:gd name="T38" fmla="*/ 37 w 434"/>
                <a:gd name="T39" fmla="*/ 410 h 472"/>
                <a:gd name="T40" fmla="*/ 52 w 434"/>
                <a:gd name="T41" fmla="*/ 422 h 472"/>
                <a:gd name="T42" fmla="*/ 69 w 434"/>
                <a:gd name="T43" fmla="*/ 428 h 472"/>
                <a:gd name="T44" fmla="*/ 89 w 434"/>
                <a:gd name="T45" fmla="*/ 431 h 472"/>
                <a:gd name="T46" fmla="*/ 104 w 434"/>
                <a:gd name="T47" fmla="*/ 432 h 472"/>
                <a:gd name="T48" fmla="*/ 104 w 434"/>
                <a:gd name="T49" fmla="*/ 472 h 472"/>
                <a:gd name="T50" fmla="*/ 418 w 434"/>
                <a:gd name="T51" fmla="*/ 472 h 472"/>
                <a:gd name="T52" fmla="*/ 434 w 434"/>
                <a:gd name="T53" fmla="*/ 316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34" h="472">
                  <a:moveTo>
                    <a:pt x="434" y="316"/>
                  </a:moveTo>
                  <a:cubicBezTo>
                    <a:pt x="409" y="316"/>
                    <a:pt x="409" y="316"/>
                    <a:pt x="409" y="316"/>
                  </a:cubicBezTo>
                  <a:cubicBezTo>
                    <a:pt x="400" y="336"/>
                    <a:pt x="390" y="355"/>
                    <a:pt x="379" y="373"/>
                  </a:cubicBezTo>
                  <a:cubicBezTo>
                    <a:pt x="368" y="391"/>
                    <a:pt x="357" y="407"/>
                    <a:pt x="344" y="423"/>
                  </a:cubicBezTo>
                  <a:cubicBezTo>
                    <a:pt x="338" y="431"/>
                    <a:pt x="328" y="436"/>
                    <a:pt x="315" y="439"/>
                  </a:cubicBezTo>
                  <a:cubicBezTo>
                    <a:pt x="301" y="442"/>
                    <a:pt x="276" y="444"/>
                    <a:pt x="239" y="444"/>
                  </a:cubicBezTo>
                  <a:cubicBezTo>
                    <a:pt x="120" y="444"/>
                    <a:pt x="120" y="444"/>
                    <a:pt x="120" y="444"/>
                  </a:cubicBezTo>
                  <a:cubicBezTo>
                    <a:pt x="424" y="22"/>
                    <a:pt x="424" y="22"/>
                    <a:pt x="424" y="22"/>
                  </a:cubicBezTo>
                  <a:cubicBezTo>
                    <a:pt x="424" y="0"/>
                    <a:pt x="424" y="0"/>
                    <a:pt x="42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27" y="144"/>
                    <a:pt x="27" y="144"/>
                    <a:pt x="27" y="144"/>
                  </a:cubicBezTo>
                  <a:cubicBezTo>
                    <a:pt x="47" y="112"/>
                    <a:pt x="62" y="84"/>
                    <a:pt x="73" y="69"/>
                  </a:cubicBezTo>
                  <a:cubicBezTo>
                    <a:pt x="85" y="54"/>
                    <a:pt x="96" y="45"/>
                    <a:pt x="105" y="41"/>
                  </a:cubicBezTo>
                  <a:cubicBezTo>
                    <a:pt x="113" y="37"/>
                    <a:pt x="122" y="35"/>
                    <a:pt x="131" y="34"/>
                  </a:cubicBezTo>
                  <a:cubicBezTo>
                    <a:pt x="141" y="32"/>
                    <a:pt x="156" y="32"/>
                    <a:pt x="177" y="32"/>
                  </a:cubicBezTo>
                  <a:cubicBezTo>
                    <a:pt x="280" y="32"/>
                    <a:pt x="280" y="32"/>
                    <a:pt x="280" y="32"/>
                  </a:cubicBezTo>
                  <a:cubicBezTo>
                    <a:pt x="24" y="386"/>
                    <a:pt x="24" y="386"/>
                    <a:pt x="24" y="386"/>
                  </a:cubicBezTo>
                  <a:cubicBezTo>
                    <a:pt x="26" y="389"/>
                    <a:pt x="27" y="393"/>
                    <a:pt x="29" y="396"/>
                  </a:cubicBezTo>
                  <a:cubicBezTo>
                    <a:pt x="31" y="401"/>
                    <a:pt x="34" y="406"/>
                    <a:pt x="37" y="410"/>
                  </a:cubicBezTo>
                  <a:cubicBezTo>
                    <a:pt x="40" y="414"/>
                    <a:pt x="45" y="418"/>
                    <a:pt x="52" y="422"/>
                  </a:cubicBezTo>
                  <a:cubicBezTo>
                    <a:pt x="56" y="425"/>
                    <a:pt x="62" y="427"/>
                    <a:pt x="69" y="428"/>
                  </a:cubicBezTo>
                  <a:cubicBezTo>
                    <a:pt x="76" y="430"/>
                    <a:pt x="83" y="431"/>
                    <a:pt x="89" y="431"/>
                  </a:cubicBezTo>
                  <a:cubicBezTo>
                    <a:pt x="104" y="432"/>
                    <a:pt x="104" y="432"/>
                    <a:pt x="104" y="432"/>
                  </a:cubicBezTo>
                  <a:cubicBezTo>
                    <a:pt x="104" y="472"/>
                    <a:pt x="104" y="472"/>
                    <a:pt x="104" y="472"/>
                  </a:cubicBezTo>
                  <a:cubicBezTo>
                    <a:pt x="418" y="472"/>
                    <a:pt x="418" y="472"/>
                    <a:pt x="418" y="472"/>
                  </a:cubicBezTo>
                  <a:lnTo>
                    <a:pt x="434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28" name="Group 55"/>
          <p:cNvGrpSpPr>
            <a:grpSpLocks noChangeAspect="1"/>
          </p:cNvGrpSpPr>
          <p:nvPr userDrawn="1"/>
        </p:nvGrpSpPr>
        <p:grpSpPr bwMode="auto">
          <a:xfrm>
            <a:off x="2129528" y="4650070"/>
            <a:ext cx="1108164" cy="669660"/>
            <a:chOff x="2123" y="1596"/>
            <a:chExt cx="1513" cy="1125"/>
          </a:xfrm>
          <a:solidFill>
            <a:srgbClr val="194780"/>
          </a:solidFill>
        </p:grpSpPr>
        <p:sp>
          <p:nvSpPr>
            <p:cNvPr id="129" name="Oval 56"/>
            <p:cNvSpPr>
              <a:spLocks noChangeArrowheads="1"/>
            </p:cNvSpPr>
            <p:nvPr/>
          </p:nvSpPr>
          <p:spPr bwMode="auto">
            <a:xfrm>
              <a:off x="2123" y="1596"/>
              <a:ext cx="161" cy="1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0" name="Oval 57"/>
            <p:cNvSpPr>
              <a:spLocks noChangeArrowheads="1"/>
            </p:cNvSpPr>
            <p:nvPr/>
          </p:nvSpPr>
          <p:spPr bwMode="auto">
            <a:xfrm>
              <a:off x="2123" y="1917"/>
              <a:ext cx="161" cy="1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1" name="Oval 58"/>
            <p:cNvSpPr>
              <a:spLocks noChangeArrowheads="1"/>
            </p:cNvSpPr>
            <p:nvPr/>
          </p:nvSpPr>
          <p:spPr bwMode="auto">
            <a:xfrm>
              <a:off x="2123" y="2239"/>
              <a:ext cx="161" cy="16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2" name="Oval 59"/>
            <p:cNvSpPr>
              <a:spLocks noChangeArrowheads="1"/>
            </p:cNvSpPr>
            <p:nvPr/>
          </p:nvSpPr>
          <p:spPr bwMode="auto">
            <a:xfrm>
              <a:off x="2123" y="1917"/>
              <a:ext cx="161" cy="1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3" name="Oval 60"/>
            <p:cNvSpPr>
              <a:spLocks noChangeArrowheads="1"/>
            </p:cNvSpPr>
            <p:nvPr/>
          </p:nvSpPr>
          <p:spPr bwMode="auto">
            <a:xfrm>
              <a:off x="2123" y="2239"/>
              <a:ext cx="161" cy="16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4" name="Oval 61"/>
            <p:cNvSpPr>
              <a:spLocks noChangeArrowheads="1"/>
            </p:cNvSpPr>
            <p:nvPr/>
          </p:nvSpPr>
          <p:spPr bwMode="auto">
            <a:xfrm>
              <a:off x="2123" y="2560"/>
              <a:ext cx="161" cy="16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5" name="Freeform 62"/>
            <p:cNvSpPr>
              <a:spLocks/>
            </p:cNvSpPr>
            <p:nvPr/>
          </p:nvSpPr>
          <p:spPr bwMode="auto">
            <a:xfrm>
              <a:off x="2426" y="1596"/>
              <a:ext cx="1181" cy="161"/>
            </a:xfrm>
            <a:custGeom>
              <a:avLst/>
              <a:gdLst>
                <a:gd name="T0" fmla="*/ 478 w 500"/>
                <a:gd name="T1" fmla="*/ 0 h 68"/>
                <a:gd name="T2" fmla="*/ 21 w 500"/>
                <a:gd name="T3" fmla="*/ 0 h 68"/>
                <a:gd name="T4" fmla="*/ 0 w 500"/>
                <a:gd name="T5" fmla="*/ 30 h 68"/>
                <a:gd name="T6" fmla="*/ 0 w 500"/>
                <a:gd name="T7" fmla="*/ 38 h 68"/>
                <a:gd name="T8" fmla="*/ 21 w 500"/>
                <a:gd name="T9" fmla="*/ 68 h 68"/>
                <a:gd name="T10" fmla="*/ 478 w 500"/>
                <a:gd name="T11" fmla="*/ 68 h 68"/>
                <a:gd name="T12" fmla="*/ 500 w 500"/>
                <a:gd name="T13" fmla="*/ 38 h 68"/>
                <a:gd name="T14" fmla="*/ 500 w 500"/>
                <a:gd name="T15" fmla="*/ 30 h 68"/>
                <a:gd name="T16" fmla="*/ 478 w 500"/>
                <a:gd name="T17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0" h="68">
                  <a:moveTo>
                    <a:pt x="47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4"/>
                    <a:pt x="0" y="3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54"/>
                    <a:pt x="9" y="68"/>
                    <a:pt x="21" y="68"/>
                  </a:cubicBezTo>
                  <a:cubicBezTo>
                    <a:pt x="478" y="68"/>
                    <a:pt x="478" y="68"/>
                    <a:pt x="478" y="68"/>
                  </a:cubicBezTo>
                  <a:cubicBezTo>
                    <a:pt x="490" y="68"/>
                    <a:pt x="500" y="54"/>
                    <a:pt x="500" y="38"/>
                  </a:cubicBezTo>
                  <a:cubicBezTo>
                    <a:pt x="500" y="30"/>
                    <a:pt x="500" y="30"/>
                    <a:pt x="500" y="30"/>
                  </a:cubicBezTo>
                  <a:cubicBezTo>
                    <a:pt x="500" y="14"/>
                    <a:pt x="490" y="0"/>
                    <a:pt x="47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6" name="Freeform 63"/>
            <p:cNvSpPr>
              <a:spLocks/>
            </p:cNvSpPr>
            <p:nvPr/>
          </p:nvSpPr>
          <p:spPr bwMode="auto">
            <a:xfrm>
              <a:off x="2426" y="1917"/>
              <a:ext cx="1210" cy="161"/>
            </a:xfrm>
            <a:custGeom>
              <a:avLst/>
              <a:gdLst>
                <a:gd name="T0" fmla="*/ 490 w 512"/>
                <a:gd name="T1" fmla="*/ 0 h 68"/>
                <a:gd name="T2" fmla="*/ 21 w 512"/>
                <a:gd name="T3" fmla="*/ 0 h 68"/>
                <a:gd name="T4" fmla="*/ 0 w 512"/>
                <a:gd name="T5" fmla="*/ 30 h 68"/>
                <a:gd name="T6" fmla="*/ 0 w 512"/>
                <a:gd name="T7" fmla="*/ 38 h 68"/>
                <a:gd name="T8" fmla="*/ 21 w 512"/>
                <a:gd name="T9" fmla="*/ 68 h 68"/>
                <a:gd name="T10" fmla="*/ 490 w 512"/>
                <a:gd name="T11" fmla="*/ 68 h 68"/>
                <a:gd name="T12" fmla="*/ 512 w 512"/>
                <a:gd name="T13" fmla="*/ 38 h 68"/>
                <a:gd name="T14" fmla="*/ 512 w 512"/>
                <a:gd name="T15" fmla="*/ 30 h 68"/>
                <a:gd name="T16" fmla="*/ 490 w 512"/>
                <a:gd name="T17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2" h="68">
                  <a:moveTo>
                    <a:pt x="490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4"/>
                    <a:pt x="0" y="3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54"/>
                    <a:pt x="9" y="68"/>
                    <a:pt x="21" y="68"/>
                  </a:cubicBezTo>
                  <a:cubicBezTo>
                    <a:pt x="490" y="68"/>
                    <a:pt x="490" y="68"/>
                    <a:pt x="490" y="68"/>
                  </a:cubicBezTo>
                  <a:cubicBezTo>
                    <a:pt x="502" y="68"/>
                    <a:pt x="512" y="54"/>
                    <a:pt x="512" y="38"/>
                  </a:cubicBezTo>
                  <a:cubicBezTo>
                    <a:pt x="512" y="30"/>
                    <a:pt x="512" y="30"/>
                    <a:pt x="512" y="30"/>
                  </a:cubicBezTo>
                  <a:cubicBezTo>
                    <a:pt x="512" y="14"/>
                    <a:pt x="502" y="0"/>
                    <a:pt x="49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7" name="Freeform 64"/>
            <p:cNvSpPr>
              <a:spLocks/>
            </p:cNvSpPr>
            <p:nvPr/>
          </p:nvSpPr>
          <p:spPr bwMode="auto">
            <a:xfrm>
              <a:off x="2426" y="2239"/>
              <a:ext cx="1011" cy="160"/>
            </a:xfrm>
            <a:custGeom>
              <a:avLst/>
              <a:gdLst>
                <a:gd name="T0" fmla="*/ 406 w 428"/>
                <a:gd name="T1" fmla="*/ 0 h 68"/>
                <a:gd name="T2" fmla="*/ 21 w 428"/>
                <a:gd name="T3" fmla="*/ 0 h 68"/>
                <a:gd name="T4" fmla="*/ 0 w 428"/>
                <a:gd name="T5" fmla="*/ 30 h 68"/>
                <a:gd name="T6" fmla="*/ 0 w 428"/>
                <a:gd name="T7" fmla="*/ 38 h 68"/>
                <a:gd name="T8" fmla="*/ 21 w 428"/>
                <a:gd name="T9" fmla="*/ 68 h 68"/>
                <a:gd name="T10" fmla="*/ 406 w 428"/>
                <a:gd name="T11" fmla="*/ 68 h 68"/>
                <a:gd name="T12" fmla="*/ 428 w 428"/>
                <a:gd name="T13" fmla="*/ 38 h 68"/>
                <a:gd name="T14" fmla="*/ 428 w 428"/>
                <a:gd name="T15" fmla="*/ 30 h 68"/>
                <a:gd name="T16" fmla="*/ 406 w 428"/>
                <a:gd name="T17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68">
                  <a:moveTo>
                    <a:pt x="40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4"/>
                    <a:pt x="0" y="3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54"/>
                    <a:pt x="9" y="68"/>
                    <a:pt x="21" y="68"/>
                  </a:cubicBezTo>
                  <a:cubicBezTo>
                    <a:pt x="406" y="68"/>
                    <a:pt x="406" y="68"/>
                    <a:pt x="406" y="68"/>
                  </a:cubicBezTo>
                  <a:cubicBezTo>
                    <a:pt x="418" y="68"/>
                    <a:pt x="428" y="54"/>
                    <a:pt x="428" y="38"/>
                  </a:cubicBezTo>
                  <a:cubicBezTo>
                    <a:pt x="428" y="30"/>
                    <a:pt x="428" y="30"/>
                    <a:pt x="428" y="30"/>
                  </a:cubicBezTo>
                  <a:cubicBezTo>
                    <a:pt x="428" y="14"/>
                    <a:pt x="418" y="0"/>
                    <a:pt x="40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8" name="Freeform 65"/>
            <p:cNvSpPr>
              <a:spLocks/>
            </p:cNvSpPr>
            <p:nvPr/>
          </p:nvSpPr>
          <p:spPr bwMode="auto">
            <a:xfrm>
              <a:off x="2426" y="2560"/>
              <a:ext cx="1134" cy="161"/>
            </a:xfrm>
            <a:custGeom>
              <a:avLst/>
              <a:gdLst>
                <a:gd name="T0" fmla="*/ 458 w 480"/>
                <a:gd name="T1" fmla="*/ 0 h 68"/>
                <a:gd name="T2" fmla="*/ 21 w 480"/>
                <a:gd name="T3" fmla="*/ 0 h 68"/>
                <a:gd name="T4" fmla="*/ 0 w 480"/>
                <a:gd name="T5" fmla="*/ 30 h 68"/>
                <a:gd name="T6" fmla="*/ 0 w 480"/>
                <a:gd name="T7" fmla="*/ 38 h 68"/>
                <a:gd name="T8" fmla="*/ 21 w 480"/>
                <a:gd name="T9" fmla="*/ 68 h 68"/>
                <a:gd name="T10" fmla="*/ 458 w 480"/>
                <a:gd name="T11" fmla="*/ 68 h 68"/>
                <a:gd name="T12" fmla="*/ 480 w 480"/>
                <a:gd name="T13" fmla="*/ 38 h 68"/>
                <a:gd name="T14" fmla="*/ 480 w 480"/>
                <a:gd name="T15" fmla="*/ 30 h 68"/>
                <a:gd name="T16" fmla="*/ 458 w 480"/>
                <a:gd name="T17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0" h="68">
                  <a:moveTo>
                    <a:pt x="45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14"/>
                    <a:pt x="0" y="3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54"/>
                    <a:pt x="9" y="68"/>
                    <a:pt x="21" y="68"/>
                  </a:cubicBezTo>
                  <a:cubicBezTo>
                    <a:pt x="458" y="68"/>
                    <a:pt x="458" y="68"/>
                    <a:pt x="458" y="68"/>
                  </a:cubicBezTo>
                  <a:cubicBezTo>
                    <a:pt x="470" y="68"/>
                    <a:pt x="480" y="54"/>
                    <a:pt x="480" y="38"/>
                  </a:cubicBezTo>
                  <a:cubicBezTo>
                    <a:pt x="480" y="30"/>
                    <a:pt x="480" y="30"/>
                    <a:pt x="480" y="30"/>
                  </a:cubicBezTo>
                  <a:cubicBezTo>
                    <a:pt x="480" y="14"/>
                    <a:pt x="470" y="0"/>
                    <a:pt x="45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139" name="Freeform 100"/>
          <p:cNvSpPr>
            <a:spLocks noEditPoints="1"/>
          </p:cNvSpPr>
          <p:nvPr userDrawn="1"/>
        </p:nvSpPr>
        <p:spPr bwMode="auto">
          <a:xfrm>
            <a:off x="2202773" y="636734"/>
            <a:ext cx="650276" cy="797839"/>
          </a:xfrm>
          <a:custGeom>
            <a:avLst/>
            <a:gdLst>
              <a:gd name="T0" fmla="*/ 0 w 241"/>
              <a:gd name="T1" fmla="*/ 100 h 364"/>
              <a:gd name="T2" fmla="*/ 15 w 241"/>
              <a:gd name="T3" fmla="*/ 54 h 364"/>
              <a:gd name="T4" fmla="*/ 57 w 241"/>
              <a:gd name="T5" fmla="*/ 15 h 364"/>
              <a:gd name="T6" fmla="*/ 123 w 241"/>
              <a:gd name="T7" fmla="*/ 0 h 364"/>
              <a:gd name="T8" fmla="*/ 185 w 241"/>
              <a:gd name="T9" fmla="*/ 12 h 364"/>
              <a:gd name="T10" fmla="*/ 226 w 241"/>
              <a:gd name="T11" fmla="*/ 48 h 364"/>
              <a:gd name="T12" fmla="*/ 241 w 241"/>
              <a:gd name="T13" fmla="*/ 96 h 364"/>
              <a:gd name="T14" fmla="*/ 232 w 241"/>
              <a:gd name="T15" fmla="*/ 132 h 364"/>
              <a:gd name="T16" fmla="*/ 213 w 241"/>
              <a:gd name="T17" fmla="*/ 158 h 364"/>
              <a:gd name="T18" fmla="*/ 172 w 241"/>
              <a:gd name="T19" fmla="*/ 196 h 364"/>
              <a:gd name="T20" fmla="*/ 158 w 241"/>
              <a:gd name="T21" fmla="*/ 209 h 364"/>
              <a:gd name="T22" fmla="*/ 151 w 241"/>
              <a:gd name="T23" fmla="*/ 219 h 364"/>
              <a:gd name="T24" fmla="*/ 147 w 241"/>
              <a:gd name="T25" fmla="*/ 229 h 364"/>
              <a:gd name="T26" fmla="*/ 143 w 241"/>
              <a:gd name="T27" fmla="*/ 245 h 364"/>
              <a:gd name="T28" fmla="*/ 115 w 241"/>
              <a:gd name="T29" fmla="*/ 270 h 364"/>
              <a:gd name="T30" fmla="*/ 94 w 241"/>
              <a:gd name="T31" fmla="*/ 262 h 364"/>
              <a:gd name="T32" fmla="*/ 85 w 241"/>
              <a:gd name="T33" fmla="*/ 238 h 364"/>
              <a:gd name="T34" fmla="*/ 91 w 241"/>
              <a:gd name="T35" fmla="*/ 203 h 364"/>
              <a:gd name="T36" fmla="*/ 108 w 241"/>
              <a:gd name="T37" fmla="*/ 177 h 364"/>
              <a:gd name="T38" fmla="*/ 136 w 241"/>
              <a:gd name="T39" fmla="*/ 150 h 364"/>
              <a:gd name="T40" fmla="*/ 158 w 241"/>
              <a:gd name="T41" fmla="*/ 130 h 364"/>
              <a:gd name="T42" fmla="*/ 170 w 241"/>
              <a:gd name="T43" fmla="*/ 114 h 364"/>
              <a:gd name="T44" fmla="*/ 174 w 241"/>
              <a:gd name="T45" fmla="*/ 96 h 364"/>
              <a:gd name="T46" fmla="*/ 160 w 241"/>
              <a:gd name="T47" fmla="*/ 64 h 364"/>
              <a:gd name="T48" fmla="*/ 123 w 241"/>
              <a:gd name="T49" fmla="*/ 50 h 364"/>
              <a:gd name="T50" fmla="*/ 84 w 241"/>
              <a:gd name="T51" fmla="*/ 64 h 364"/>
              <a:gd name="T52" fmla="*/ 63 w 241"/>
              <a:gd name="T53" fmla="*/ 103 h 364"/>
              <a:gd name="T54" fmla="*/ 32 w 241"/>
              <a:gd name="T55" fmla="*/ 130 h 364"/>
              <a:gd name="T56" fmla="*/ 9 w 241"/>
              <a:gd name="T57" fmla="*/ 121 h 364"/>
              <a:gd name="T58" fmla="*/ 0 w 241"/>
              <a:gd name="T59" fmla="*/ 100 h 364"/>
              <a:gd name="T60" fmla="*/ 117 w 241"/>
              <a:gd name="T61" fmla="*/ 364 h 364"/>
              <a:gd name="T62" fmla="*/ 92 w 241"/>
              <a:gd name="T63" fmla="*/ 355 h 364"/>
              <a:gd name="T64" fmla="*/ 81 w 241"/>
              <a:gd name="T65" fmla="*/ 328 h 364"/>
              <a:gd name="T66" fmla="*/ 91 w 241"/>
              <a:gd name="T67" fmla="*/ 303 h 364"/>
              <a:gd name="T68" fmla="*/ 117 w 241"/>
              <a:gd name="T69" fmla="*/ 292 h 364"/>
              <a:gd name="T70" fmla="*/ 143 w 241"/>
              <a:gd name="T71" fmla="*/ 303 h 364"/>
              <a:gd name="T72" fmla="*/ 153 w 241"/>
              <a:gd name="T73" fmla="*/ 328 h 364"/>
              <a:gd name="T74" fmla="*/ 142 w 241"/>
              <a:gd name="T75" fmla="*/ 355 h 364"/>
              <a:gd name="T76" fmla="*/ 117 w 241"/>
              <a:gd name="T77" fmla="*/ 364 h 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41" h="364">
                <a:moveTo>
                  <a:pt x="0" y="100"/>
                </a:moveTo>
                <a:cubicBezTo>
                  <a:pt x="0" y="85"/>
                  <a:pt x="5" y="70"/>
                  <a:pt x="15" y="54"/>
                </a:cubicBezTo>
                <a:cubicBezTo>
                  <a:pt x="24" y="38"/>
                  <a:pt x="39" y="25"/>
                  <a:pt x="57" y="15"/>
                </a:cubicBezTo>
                <a:cubicBezTo>
                  <a:pt x="76" y="5"/>
                  <a:pt x="98" y="0"/>
                  <a:pt x="123" y="0"/>
                </a:cubicBezTo>
                <a:cubicBezTo>
                  <a:pt x="146" y="0"/>
                  <a:pt x="167" y="4"/>
                  <a:pt x="185" y="12"/>
                </a:cubicBezTo>
                <a:cubicBezTo>
                  <a:pt x="203" y="21"/>
                  <a:pt x="216" y="33"/>
                  <a:pt x="226" y="48"/>
                </a:cubicBezTo>
                <a:cubicBezTo>
                  <a:pt x="236" y="62"/>
                  <a:pt x="241" y="78"/>
                  <a:pt x="241" y="96"/>
                </a:cubicBezTo>
                <a:cubicBezTo>
                  <a:pt x="241" y="109"/>
                  <a:pt x="238" y="121"/>
                  <a:pt x="232" y="132"/>
                </a:cubicBezTo>
                <a:cubicBezTo>
                  <a:pt x="227" y="142"/>
                  <a:pt x="220" y="151"/>
                  <a:pt x="213" y="158"/>
                </a:cubicBezTo>
                <a:cubicBezTo>
                  <a:pt x="205" y="166"/>
                  <a:pt x="191" y="178"/>
                  <a:pt x="172" y="196"/>
                </a:cubicBezTo>
                <a:cubicBezTo>
                  <a:pt x="166" y="201"/>
                  <a:pt x="162" y="205"/>
                  <a:pt x="158" y="209"/>
                </a:cubicBezTo>
                <a:cubicBezTo>
                  <a:pt x="155" y="213"/>
                  <a:pt x="153" y="216"/>
                  <a:pt x="151" y="219"/>
                </a:cubicBezTo>
                <a:cubicBezTo>
                  <a:pt x="149" y="222"/>
                  <a:pt x="148" y="226"/>
                  <a:pt x="147" y="229"/>
                </a:cubicBezTo>
                <a:cubicBezTo>
                  <a:pt x="146" y="232"/>
                  <a:pt x="145" y="237"/>
                  <a:pt x="143" y="245"/>
                </a:cubicBezTo>
                <a:cubicBezTo>
                  <a:pt x="140" y="262"/>
                  <a:pt x="131" y="270"/>
                  <a:pt x="115" y="270"/>
                </a:cubicBezTo>
                <a:cubicBezTo>
                  <a:pt x="106" y="270"/>
                  <a:pt x="99" y="268"/>
                  <a:pt x="94" y="262"/>
                </a:cubicBezTo>
                <a:cubicBezTo>
                  <a:pt x="88" y="257"/>
                  <a:pt x="85" y="249"/>
                  <a:pt x="85" y="238"/>
                </a:cubicBezTo>
                <a:cubicBezTo>
                  <a:pt x="85" y="224"/>
                  <a:pt x="87" y="213"/>
                  <a:pt x="91" y="203"/>
                </a:cubicBezTo>
                <a:cubicBezTo>
                  <a:pt x="96" y="193"/>
                  <a:pt x="101" y="184"/>
                  <a:pt x="108" y="177"/>
                </a:cubicBezTo>
                <a:cubicBezTo>
                  <a:pt x="115" y="169"/>
                  <a:pt x="124" y="160"/>
                  <a:pt x="136" y="150"/>
                </a:cubicBezTo>
                <a:cubicBezTo>
                  <a:pt x="146" y="141"/>
                  <a:pt x="154" y="134"/>
                  <a:pt x="158" y="130"/>
                </a:cubicBezTo>
                <a:cubicBezTo>
                  <a:pt x="163" y="125"/>
                  <a:pt x="167" y="120"/>
                  <a:pt x="170" y="114"/>
                </a:cubicBezTo>
                <a:cubicBezTo>
                  <a:pt x="173" y="109"/>
                  <a:pt x="174" y="103"/>
                  <a:pt x="174" y="96"/>
                </a:cubicBezTo>
                <a:cubicBezTo>
                  <a:pt x="174" y="83"/>
                  <a:pt x="170" y="72"/>
                  <a:pt x="160" y="64"/>
                </a:cubicBezTo>
                <a:cubicBezTo>
                  <a:pt x="151" y="55"/>
                  <a:pt x="138" y="50"/>
                  <a:pt x="123" y="50"/>
                </a:cubicBezTo>
                <a:cubicBezTo>
                  <a:pt x="106" y="50"/>
                  <a:pt x="93" y="55"/>
                  <a:pt x="84" y="64"/>
                </a:cubicBezTo>
                <a:cubicBezTo>
                  <a:pt x="76" y="73"/>
                  <a:pt x="69" y="86"/>
                  <a:pt x="63" y="103"/>
                </a:cubicBezTo>
                <a:cubicBezTo>
                  <a:pt x="58" y="121"/>
                  <a:pt x="47" y="130"/>
                  <a:pt x="32" y="130"/>
                </a:cubicBezTo>
                <a:cubicBezTo>
                  <a:pt x="23" y="130"/>
                  <a:pt x="15" y="127"/>
                  <a:pt x="9" y="121"/>
                </a:cubicBezTo>
                <a:cubicBezTo>
                  <a:pt x="3" y="115"/>
                  <a:pt x="0" y="108"/>
                  <a:pt x="0" y="100"/>
                </a:cubicBezTo>
                <a:close/>
                <a:moveTo>
                  <a:pt x="117" y="364"/>
                </a:moveTo>
                <a:cubicBezTo>
                  <a:pt x="108" y="364"/>
                  <a:pt x="99" y="361"/>
                  <a:pt x="92" y="355"/>
                </a:cubicBezTo>
                <a:cubicBezTo>
                  <a:pt x="84" y="348"/>
                  <a:pt x="81" y="339"/>
                  <a:pt x="81" y="328"/>
                </a:cubicBezTo>
                <a:cubicBezTo>
                  <a:pt x="81" y="318"/>
                  <a:pt x="84" y="309"/>
                  <a:pt x="91" y="303"/>
                </a:cubicBezTo>
                <a:cubicBezTo>
                  <a:pt x="98" y="296"/>
                  <a:pt x="107" y="292"/>
                  <a:pt x="117" y="292"/>
                </a:cubicBezTo>
                <a:cubicBezTo>
                  <a:pt x="127" y="292"/>
                  <a:pt x="136" y="296"/>
                  <a:pt x="143" y="303"/>
                </a:cubicBezTo>
                <a:cubicBezTo>
                  <a:pt x="150" y="309"/>
                  <a:pt x="153" y="318"/>
                  <a:pt x="153" y="328"/>
                </a:cubicBezTo>
                <a:cubicBezTo>
                  <a:pt x="153" y="339"/>
                  <a:pt x="150" y="348"/>
                  <a:pt x="142" y="355"/>
                </a:cubicBezTo>
                <a:cubicBezTo>
                  <a:pt x="135" y="361"/>
                  <a:pt x="127" y="364"/>
                  <a:pt x="117" y="364"/>
                </a:cubicBezTo>
                <a:close/>
              </a:path>
            </a:pathLst>
          </a:custGeom>
          <a:solidFill>
            <a:srgbClr val="19478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40" name="Freeform 6"/>
          <p:cNvSpPr>
            <a:spLocks/>
          </p:cNvSpPr>
          <p:nvPr userDrawn="1"/>
        </p:nvSpPr>
        <p:spPr bwMode="auto">
          <a:xfrm>
            <a:off x="479883" y="2043783"/>
            <a:ext cx="906497" cy="634531"/>
          </a:xfrm>
          <a:custGeom>
            <a:avLst/>
            <a:gdLst>
              <a:gd name="T0" fmla="*/ 514 w 525"/>
              <a:gd name="T1" fmla="*/ 424 h 452"/>
              <a:gd name="T2" fmla="*/ 488 w 525"/>
              <a:gd name="T3" fmla="*/ 424 h 452"/>
              <a:gd name="T4" fmla="*/ 488 w 525"/>
              <a:gd name="T5" fmla="*/ 118 h 452"/>
              <a:gd name="T6" fmla="*/ 458 w 525"/>
              <a:gd name="T7" fmla="*/ 96 h 452"/>
              <a:gd name="T8" fmla="*/ 451 w 525"/>
              <a:gd name="T9" fmla="*/ 96 h 452"/>
              <a:gd name="T10" fmla="*/ 424 w 525"/>
              <a:gd name="T11" fmla="*/ 118 h 452"/>
              <a:gd name="T12" fmla="*/ 424 w 525"/>
              <a:gd name="T13" fmla="*/ 424 h 452"/>
              <a:gd name="T14" fmla="*/ 364 w 525"/>
              <a:gd name="T15" fmla="*/ 424 h 452"/>
              <a:gd name="T16" fmla="*/ 364 w 525"/>
              <a:gd name="T17" fmla="*/ 212 h 452"/>
              <a:gd name="T18" fmla="*/ 331 w 525"/>
              <a:gd name="T19" fmla="*/ 196 h 452"/>
              <a:gd name="T20" fmla="*/ 324 w 525"/>
              <a:gd name="T21" fmla="*/ 196 h 452"/>
              <a:gd name="T22" fmla="*/ 292 w 525"/>
              <a:gd name="T23" fmla="*/ 212 h 452"/>
              <a:gd name="T24" fmla="*/ 292 w 525"/>
              <a:gd name="T25" fmla="*/ 424 h 452"/>
              <a:gd name="T26" fmla="*/ 232 w 525"/>
              <a:gd name="T27" fmla="*/ 424 h 452"/>
              <a:gd name="T28" fmla="*/ 232 w 525"/>
              <a:gd name="T29" fmla="*/ 21 h 452"/>
              <a:gd name="T30" fmla="*/ 203 w 525"/>
              <a:gd name="T31" fmla="*/ 0 h 452"/>
              <a:gd name="T32" fmla="*/ 196 w 525"/>
              <a:gd name="T33" fmla="*/ 0 h 452"/>
              <a:gd name="T34" fmla="*/ 168 w 525"/>
              <a:gd name="T35" fmla="*/ 21 h 452"/>
              <a:gd name="T36" fmla="*/ 168 w 525"/>
              <a:gd name="T37" fmla="*/ 424 h 452"/>
              <a:gd name="T38" fmla="*/ 104 w 525"/>
              <a:gd name="T39" fmla="*/ 424 h 452"/>
              <a:gd name="T40" fmla="*/ 104 w 525"/>
              <a:gd name="T41" fmla="*/ 283 h 452"/>
              <a:gd name="T42" fmla="*/ 76 w 525"/>
              <a:gd name="T43" fmla="*/ 264 h 452"/>
              <a:gd name="T44" fmla="*/ 69 w 525"/>
              <a:gd name="T45" fmla="*/ 264 h 452"/>
              <a:gd name="T46" fmla="*/ 44 w 525"/>
              <a:gd name="T47" fmla="*/ 283 h 452"/>
              <a:gd name="T48" fmla="*/ 44 w 525"/>
              <a:gd name="T49" fmla="*/ 424 h 452"/>
              <a:gd name="T50" fmla="*/ 11 w 525"/>
              <a:gd name="T51" fmla="*/ 424 h 452"/>
              <a:gd name="T52" fmla="*/ 0 w 525"/>
              <a:gd name="T53" fmla="*/ 438 h 452"/>
              <a:gd name="T54" fmla="*/ 11 w 525"/>
              <a:gd name="T55" fmla="*/ 452 h 452"/>
              <a:gd name="T56" fmla="*/ 514 w 525"/>
              <a:gd name="T57" fmla="*/ 452 h 452"/>
              <a:gd name="T58" fmla="*/ 525 w 525"/>
              <a:gd name="T59" fmla="*/ 438 h 452"/>
              <a:gd name="T60" fmla="*/ 514 w 525"/>
              <a:gd name="T61" fmla="*/ 42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525" h="452">
                <a:moveTo>
                  <a:pt x="514" y="424"/>
                </a:moveTo>
                <a:cubicBezTo>
                  <a:pt x="488" y="424"/>
                  <a:pt x="488" y="424"/>
                  <a:pt x="488" y="424"/>
                </a:cubicBezTo>
                <a:cubicBezTo>
                  <a:pt x="488" y="118"/>
                  <a:pt x="488" y="118"/>
                  <a:pt x="488" y="118"/>
                </a:cubicBezTo>
                <a:cubicBezTo>
                  <a:pt x="488" y="107"/>
                  <a:pt x="474" y="96"/>
                  <a:pt x="458" y="96"/>
                </a:cubicBezTo>
                <a:cubicBezTo>
                  <a:pt x="451" y="96"/>
                  <a:pt x="451" y="96"/>
                  <a:pt x="451" y="96"/>
                </a:cubicBezTo>
                <a:cubicBezTo>
                  <a:pt x="435" y="96"/>
                  <a:pt x="424" y="107"/>
                  <a:pt x="424" y="118"/>
                </a:cubicBezTo>
                <a:cubicBezTo>
                  <a:pt x="424" y="424"/>
                  <a:pt x="424" y="424"/>
                  <a:pt x="424" y="424"/>
                </a:cubicBezTo>
                <a:cubicBezTo>
                  <a:pt x="364" y="424"/>
                  <a:pt x="364" y="424"/>
                  <a:pt x="364" y="424"/>
                </a:cubicBezTo>
                <a:cubicBezTo>
                  <a:pt x="364" y="212"/>
                  <a:pt x="364" y="212"/>
                  <a:pt x="364" y="212"/>
                </a:cubicBezTo>
                <a:cubicBezTo>
                  <a:pt x="364" y="201"/>
                  <a:pt x="346" y="196"/>
                  <a:pt x="331" y="196"/>
                </a:cubicBezTo>
                <a:cubicBezTo>
                  <a:pt x="324" y="196"/>
                  <a:pt x="324" y="196"/>
                  <a:pt x="324" y="196"/>
                </a:cubicBezTo>
                <a:cubicBezTo>
                  <a:pt x="308" y="196"/>
                  <a:pt x="292" y="201"/>
                  <a:pt x="292" y="212"/>
                </a:cubicBezTo>
                <a:cubicBezTo>
                  <a:pt x="292" y="424"/>
                  <a:pt x="292" y="424"/>
                  <a:pt x="292" y="424"/>
                </a:cubicBezTo>
                <a:cubicBezTo>
                  <a:pt x="232" y="424"/>
                  <a:pt x="232" y="424"/>
                  <a:pt x="232" y="424"/>
                </a:cubicBezTo>
                <a:cubicBezTo>
                  <a:pt x="232" y="21"/>
                  <a:pt x="232" y="21"/>
                  <a:pt x="232" y="21"/>
                </a:cubicBezTo>
                <a:cubicBezTo>
                  <a:pt x="232" y="10"/>
                  <a:pt x="219" y="0"/>
                  <a:pt x="203" y="0"/>
                </a:cubicBezTo>
                <a:cubicBezTo>
                  <a:pt x="196" y="0"/>
                  <a:pt x="196" y="0"/>
                  <a:pt x="196" y="0"/>
                </a:cubicBezTo>
                <a:cubicBezTo>
                  <a:pt x="181" y="0"/>
                  <a:pt x="168" y="10"/>
                  <a:pt x="168" y="21"/>
                </a:cubicBezTo>
                <a:cubicBezTo>
                  <a:pt x="168" y="424"/>
                  <a:pt x="168" y="424"/>
                  <a:pt x="168" y="424"/>
                </a:cubicBezTo>
                <a:cubicBezTo>
                  <a:pt x="104" y="424"/>
                  <a:pt x="104" y="424"/>
                  <a:pt x="104" y="424"/>
                </a:cubicBezTo>
                <a:cubicBezTo>
                  <a:pt x="104" y="283"/>
                  <a:pt x="104" y="283"/>
                  <a:pt x="104" y="283"/>
                </a:cubicBezTo>
                <a:cubicBezTo>
                  <a:pt x="104" y="272"/>
                  <a:pt x="91" y="264"/>
                  <a:pt x="76" y="264"/>
                </a:cubicBezTo>
                <a:cubicBezTo>
                  <a:pt x="69" y="264"/>
                  <a:pt x="69" y="264"/>
                  <a:pt x="69" y="264"/>
                </a:cubicBezTo>
                <a:cubicBezTo>
                  <a:pt x="53" y="264"/>
                  <a:pt x="44" y="272"/>
                  <a:pt x="44" y="283"/>
                </a:cubicBezTo>
                <a:cubicBezTo>
                  <a:pt x="44" y="424"/>
                  <a:pt x="44" y="424"/>
                  <a:pt x="44" y="424"/>
                </a:cubicBezTo>
                <a:cubicBezTo>
                  <a:pt x="11" y="424"/>
                  <a:pt x="11" y="424"/>
                  <a:pt x="11" y="424"/>
                </a:cubicBezTo>
                <a:cubicBezTo>
                  <a:pt x="5" y="424"/>
                  <a:pt x="0" y="431"/>
                  <a:pt x="0" y="438"/>
                </a:cubicBezTo>
                <a:cubicBezTo>
                  <a:pt x="0" y="445"/>
                  <a:pt x="5" y="452"/>
                  <a:pt x="11" y="452"/>
                </a:cubicBezTo>
                <a:cubicBezTo>
                  <a:pt x="514" y="452"/>
                  <a:pt x="514" y="452"/>
                  <a:pt x="514" y="452"/>
                </a:cubicBezTo>
                <a:cubicBezTo>
                  <a:pt x="520" y="452"/>
                  <a:pt x="525" y="445"/>
                  <a:pt x="525" y="438"/>
                </a:cubicBezTo>
                <a:cubicBezTo>
                  <a:pt x="525" y="431"/>
                  <a:pt x="520" y="424"/>
                  <a:pt x="514" y="424"/>
                </a:cubicBezTo>
                <a:close/>
              </a:path>
            </a:pathLst>
          </a:custGeom>
          <a:solidFill>
            <a:srgbClr val="19478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141" name="Group 5"/>
          <p:cNvGrpSpPr>
            <a:grpSpLocks noChangeAspect="1"/>
          </p:cNvGrpSpPr>
          <p:nvPr userDrawn="1"/>
        </p:nvGrpSpPr>
        <p:grpSpPr bwMode="auto">
          <a:xfrm>
            <a:off x="3804026" y="4813970"/>
            <a:ext cx="908637" cy="588964"/>
            <a:chOff x="2020" y="1478"/>
            <a:chExt cx="1719" cy="1371"/>
          </a:xfrm>
          <a:solidFill>
            <a:schemeClr val="accent1"/>
          </a:solidFill>
        </p:grpSpPr>
        <p:sp>
          <p:nvSpPr>
            <p:cNvPr id="142" name="Freeform 6"/>
            <p:cNvSpPr>
              <a:spLocks/>
            </p:cNvSpPr>
            <p:nvPr/>
          </p:nvSpPr>
          <p:spPr bwMode="auto">
            <a:xfrm>
              <a:off x="2020" y="1540"/>
              <a:ext cx="1719" cy="1309"/>
            </a:xfrm>
            <a:custGeom>
              <a:avLst/>
              <a:gdLst>
                <a:gd name="T0" fmla="*/ 716 w 728"/>
                <a:gd name="T1" fmla="*/ 1 h 554"/>
                <a:gd name="T2" fmla="*/ 704 w 728"/>
                <a:gd name="T3" fmla="*/ 2 h 554"/>
                <a:gd name="T4" fmla="*/ 704 w 728"/>
                <a:gd name="T5" fmla="*/ 4 h 554"/>
                <a:gd name="T6" fmla="*/ 704 w 728"/>
                <a:gd name="T7" fmla="*/ 21 h 554"/>
                <a:gd name="T8" fmla="*/ 704 w 728"/>
                <a:gd name="T9" fmla="*/ 472 h 554"/>
                <a:gd name="T10" fmla="*/ 704 w 728"/>
                <a:gd name="T11" fmla="*/ 490 h 554"/>
                <a:gd name="T12" fmla="*/ 704 w 728"/>
                <a:gd name="T13" fmla="*/ 493 h 554"/>
                <a:gd name="T14" fmla="*/ 693 w 728"/>
                <a:gd name="T15" fmla="*/ 508 h 554"/>
                <a:gd name="T16" fmla="*/ 679 w 728"/>
                <a:gd name="T17" fmla="*/ 510 h 554"/>
                <a:gd name="T18" fmla="*/ 670 w 728"/>
                <a:gd name="T19" fmla="*/ 509 h 554"/>
                <a:gd name="T20" fmla="*/ 539 w 728"/>
                <a:gd name="T21" fmla="*/ 494 h 554"/>
                <a:gd name="T22" fmla="*/ 405 w 728"/>
                <a:gd name="T23" fmla="*/ 508 h 554"/>
                <a:gd name="T24" fmla="*/ 386 w 728"/>
                <a:gd name="T25" fmla="*/ 513 h 554"/>
                <a:gd name="T26" fmla="*/ 376 w 728"/>
                <a:gd name="T27" fmla="*/ 515 h 554"/>
                <a:gd name="T28" fmla="*/ 376 w 728"/>
                <a:gd name="T29" fmla="*/ 515 h 554"/>
                <a:gd name="T30" fmla="*/ 371 w 728"/>
                <a:gd name="T31" fmla="*/ 514 h 554"/>
                <a:gd name="T32" fmla="*/ 347 w 728"/>
                <a:gd name="T33" fmla="*/ 508 h 554"/>
                <a:gd name="T34" fmla="*/ 212 w 728"/>
                <a:gd name="T35" fmla="*/ 494 h 554"/>
                <a:gd name="T36" fmla="*/ 61 w 728"/>
                <a:gd name="T37" fmla="*/ 511 h 554"/>
                <a:gd name="T38" fmla="*/ 53 w 728"/>
                <a:gd name="T39" fmla="*/ 512 h 554"/>
                <a:gd name="T40" fmla="*/ 35 w 728"/>
                <a:gd name="T41" fmla="*/ 506 h 554"/>
                <a:gd name="T42" fmla="*/ 25 w 728"/>
                <a:gd name="T43" fmla="*/ 492 h 554"/>
                <a:gd name="T44" fmla="*/ 24 w 728"/>
                <a:gd name="T45" fmla="*/ 489 h 554"/>
                <a:gd name="T46" fmla="*/ 24 w 728"/>
                <a:gd name="T47" fmla="*/ 472 h 554"/>
                <a:gd name="T48" fmla="*/ 24 w 728"/>
                <a:gd name="T49" fmla="*/ 22 h 554"/>
                <a:gd name="T50" fmla="*/ 12 w 728"/>
                <a:gd name="T51" fmla="*/ 4 h 554"/>
                <a:gd name="T52" fmla="*/ 0 w 728"/>
                <a:gd name="T53" fmla="*/ 19 h 554"/>
                <a:gd name="T54" fmla="*/ 0 w 728"/>
                <a:gd name="T55" fmla="*/ 539 h 554"/>
                <a:gd name="T56" fmla="*/ 16 w 728"/>
                <a:gd name="T57" fmla="*/ 553 h 554"/>
                <a:gd name="T58" fmla="*/ 249 w 728"/>
                <a:gd name="T59" fmla="*/ 528 h 554"/>
                <a:gd name="T60" fmla="*/ 340 w 728"/>
                <a:gd name="T61" fmla="*/ 539 h 554"/>
                <a:gd name="T62" fmla="*/ 371 w 728"/>
                <a:gd name="T63" fmla="*/ 543 h 554"/>
                <a:gd name="T64" fmla="*/ 385 w 728"/>
                <a:gd name="T65" fmla="*/ 543 h 554"/>
                <a:gd name="T66" fmla="*/ 416 w 728"/>
                <a:gd name="T67" fmla="*/ 538 h 554"/>
                <a:gd name="T68" fmla="*/ 492 w 728"/>
                <a:gd name="T69" fmla="*/ 528 h 554"/>
                <a:gd name="T70" fmla="*/ 712 w 728"/>
                <a:gd name="T71" fmla="*/ 549 h 554"/>
                <a:gd name="T72" fmla="*/ 728 w 728"/>
                <a:gd name="T73" fmla="*/ 535 h 554"/>
                <a:gd name="T74" fmla="*/ 728 w 728"/>
                <a:gd name="T75" fmla="*/ 15 h 554"/>
                <a:gd name="T76" fmla="*/ 716 w 728"/>
                <a:gd name="T77" fmla="*/ 1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28" h="554">
                  <a:moveTo>
                    <a:pt x="716" y="1"/>
                  </a:moveTo>
                  <a:cubicBezTo>
                    <a:pt x="710" y="1"/>
                    <a:pt x="704" y="2"/>
                    <a:pt x="704" y="2"/>
                  </a:cubicBezTo>
                  <a:cubicBezTo>
                    <a:pt x="704" y="3"/>
                    <a:pt x="704" y="3"/>
                    <a:pt x="704" y="4"/>
                  </a:cubicBezTo>
                  <a:cubicBezTo>
                    <a:pt x="704" y="4"/>
                    <a:pt x="704" y="12"/>
                    <a:pt x="704" y="21"/>
                  </a:cubicBezTo>
                  <a:cubicBezTo>
                    <a:pt x="704" y="472"/>
                    <a:pt x="704" y="472"/>
                    <a:pt x="704" y="472"/>
                  </a:cubicBezTo>
                  <a:cubicBezTo>
                    <a:pt x="704" y="481"/>
                    <a:pt x="704" y="489"/>
                    <a:pt x="704" y="490"/>
                  </a:cubicBezTo>
                  <a:cubicBezTo>
                    <a:pt x="704" y="491"/>
                    <a:pt x="704" y="493"/>
                    <a:pt x="704" y="493"/>
                  </a:cubicBezTo>
                  <a:cubicBezTo>
                    <a:pt x="703" y="494"/>
                    <a:pt x="699" y="501"/>
                    <a:pt x="693" y="508"/>
                  </a:cubicBezTo>
                  <a:cubicBezTo>
                    <a:pt x="693" y="508"/>
                    <a:pt x="692" y="510"/>
                    <a:pt x="679" y="510"/>
                  </a:cubicBezTo>
                  <a:cubicBezTo>
                    <a:pt x="676" y="510"/>
                    <a:pt x="673" y="510"/>
                    <a:pt x="670" y="509"/>
                  </a:cubicBezTo>
                  <a:cubicBezTo>
                    <a:pt x="644" y="502"/>
                    <a:pt x="606" y="495"/>
                    <a:pt x="539" y="494"/>
                  </a:cubicBezTo>
                  <a:cubicBezTo>
                    <a:pt x="476" y="494"/>
                    <a:pt x="405" y="508"/>
                    <a:pt x="405" y="508"/>
                  </a:cubicBezTo>
                  <a:cubicBezTo>
                    <a:pt x="397" y="509"/>
                    <a:pt x="388" y="512"/>
                    <a:pt x="386" y="513"/>
                  </a:cubicBezTo>
                  <a:cubicBezTo>
                    <a:pt x="384" y="514"/>
                    <a:pt x="376" y="515"/>
                    <a:pt x="376" y="515"/>
                  </a:cubicBezTo>
                  <a:cubicBezTo>
                    <a:pt x="376" y="515"/>
                    <a:pt x="376" y="515"/>
                    <a:pt x="376" y="515"/>
                  </a:cubicBezTo>
                  <a:cubicBezTo>
                    <a:pt x="376" y="515"/>
                    <a:pt x="374" y="514"/>
                    <a:pt x="371" y="514"/>
                  </a:cubicBezTo>
                  <a:cubicBezTo>
                    <a:pt x="368" y="513"/>
                    <a:pt x="356" y="510"/>
                    <a:pt x="347" y="508"/>
                  </a:cubicBezTo>
                  <a:cubicBezTo>
                    <a:pt x="347" y="508"/>
                    <a:pt x="276" y="494"/>
                    <a:pt x="212" y="494"/>
                  </a:cubicBezTo>
                  <a:cubicBezTo>
                    <a:pt x="129" y="495"/>
                    <a:pt x="68" y="510"/>
                    <a:pt x="61" y="511"/>
                  </a:cubicBezTo>
                  <a:cubicBezTo>
                    <a:pt x="58" y="512"/>
                    <a:pt x="56" y="512"/>
                    <a:pt x="53" y="512"/>
                  </a:cubicBezTo>
                  <a:cubicBezTo>
                    <a:pt x="39" y="512"/>
                    <a:pt x="35" y="506"/>
                    <a:pt x="35" y="506"/>
                  </a:cubicBezTo>
                  <a:cubicBezTo>
                    <a:pt x="30" y="499"/>
                    <a:pt x="25" y="492"/>
                    <a:pt x="25" y="492"/>
                  </a:cubicBezTo>
                  <a:cubicBezTo>
                    <a:pt x="24" y="491"/>
                    <a:pt x="24" y="490"/>
                    <a:pt x="24" y="489"/>
                  </a:cubicBezTo>
                  <a:cubicBezTo>
                    <a:pt x="24" y="488"/>
                    <a:pt x="24" y="481"/>
                    <a:pt x="24" y="472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13"/>
                    <a:pt x="19" y="5"/>
                    <a:pt x="12" y="4"/>
                  </a:cubicBezTo>
                  <a:cubicBezTo>
                    <a:pt x="5" y="4"/>
                    <a:pt x="0" y="10"/>
                    <a:pt x="0" y="19"/>
                  </a:cubicBezTo>
                  <a:cubicBezTo>
                    <a:pt x="0" y="539"/>
                    <a:pt x="0" y="539"/>
                    <a:pt x="0" y="539"/>
                  </a:cubicBezTo>
                  <a:cubicBezTo>
                    <a:pt x="0" y="548"/>
                    <a:pt x="7" y="554"/>
                    <a:pt x="16" y="553"/>
                  </a:cubicBezTo>
                  <a:cubicBezTo>
                    <a:pt x="16" y="553"/>
                    <a:pt x="181" y="528"/>
                    <a:pt x="249" y="528"/>
                  </a:cubicBezTo>
                  <a:cubicBezTo>
                    <a:pt x="298" y="528"/>
                    <a:pt x="340" y="539"/>
                    <a:pt x="340" y="539"/>
                  </a:cubicBezTo>
                  <a:cubicBezTo>
                    <a:pt x="348" y="541"/>
                    <a:pt x="363" y="543"/>
                    <a:pt x="371" y="543"/>
                  </a:cubicBezTo>
                  <a:cubicBezTo>
                    <a:pt x="385" y="543"/>
                    <a:pt x="385" y="543"/>
                    <a:pt x="385" y="543"/>
                  </a:cubicBezTo>
                  <a:cubicBezTo>
                    <a:pt x="393" y="543"/>
                    <a:pt x="408" y="541"/>
                    <a:pt x="416" y="538"/>
                  </a:cubicBezTo>
                  <a:cubicBezTo>
                    <a:pt x="416" y="538"/>
                    <a:pt x="450" y="528"/>
                    <a:pt x="492" y="528"/>
                  </a:cubicBezTo>
                  <a:cubicBezTo>
                    <a:pt x="554" y="528"/>
                    <a:pt x="712" y="549"/>
                    <a:pt x="712" y="549"/>
                  </a:cubicBezTo>
                  <a:cubicBezTo>
                    <a:pt x="721" y="550"/>
                    <a:pt x="728" y="544"/>
                    <a:pt x="728" y="535"/>
                  </a:cubicBezTo>
                  <a:cubicBezTo>
                    <a:pt x="728" y="15"/>
                    <a:pt x="728" y="15"/>
                    <a:pt x="728" y="15"/>
                  </a:cubicBezTo>
                  <a:cubicBezTo>
                    <a:pt x="728" y="6"/>
                    <a:pt x="723" y="0"/>
                    <a:pt x="71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3" name="Freeform 7"/>
            <p:cNvSpPr>
              <a:spLocks/>
            </p:cNvSpPr>
            <p:nvPr/>
          </p:nvSpPr>
          <p:spPr bwMode="auto">
            <a:xfrm>
              <a:off x="2917" y="1478"/>
              <a:ext cx="728" cy="1238"/>
            </a:xfrm>
            <a:custGeom>
              <a:avLst/>
              <a:gdLst>
                <a:gd name="T0" fmla="*/ 308 w 308"/>
                <a:gd name="T1" fmla="*/ 30 h 524"/>
                <a:gd name="T2" fmla="*/ 296 w 308"/>
                <a:gd name="T3" fmla="*/ 16 h 524"/>
                <a:gd name="T4" fmla="*/ 135 w 308"/>
                <a:gd name="T5" fmla="*/ 0 h 524"/>
                <a:gd name="T6" fmla="*/ 0 w 308"/>
                <a:gd name="T7" fmla="*/ 44 h 524"/>
                <a:gd name="T8" fmla="*/ 0 w 308"/>
                <a:gd name="T9" fmla="*/ 524 h 524"/>
                <a:gd name="T10" fmla="*/ 3 w 308"/>
                <a:gd name="T11" fmla="*/ 522 h 524"/>
                <a:gd name="T12" fmla="*/ 159 w 308"/>
                <a:gd name="T13" fmla="*/ 504 h 524"/>
                <a:gd name="T14" fmla="*/ 293 w 308"/>
                <a:gd name="T15" fmla="*/ 519 h 524"/>
                <a:gd name="T16" fmla="*/ 298 w 308"/>
                <a:gd name="T17" fmla="*/ 520 h 524"/>
                <a:gd name="T18" fmla="*/ 308 w 308"/>
                <a:gd name="T19" fmla="*/ 514 h 524"/>
                <a:gd name="T20" fmla="*/ 308 w 308"/>
                <a:gd name="T21" fmla="*/ 31 h 524"/>
                <a:gd name="T22" fmla="*/ 308 w 308"/>
                <a:gd name="T23" fmla="*/ 3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08" h="524">
                  <a:moveTo>
                    <a:pt x="308" y="30"/>
                  </a:moveTo>
                  <a:cubicBezTo>
                    <a:pt x="307" y="28"/>
                    <a:pt x="305" y="17"/>
                    <a:pt x="296" y="16"/>
                  </a:cubicBezTo>
                  <a:cubicBezTo>
                    <a:pt x="226" y="5"/>
                    <a:pt x="175" y="0"/>
                    <a:pt x="135" y="0"/>
                  </a:cubicBezTo>
                  <a:cubicBezTo>
                    <a:pt x="30" y="0"/>
                    <a:pt x="13" y="30"/>
                    <a:pt x="0" y="44"/>
                  </a:cubicBezTo>
                  <a:cubicBezTo>
                    <a:pt x="0" y="524"/>
                    <a:pt x="0" y="524"/>
                    <a:pt x="0" y="524"/>
                  </a:cubicBezTo>
                  <a:cubicBezTo>
                    <a:pt x="1" y="523"/>
                    <a:pt x="3" y="522"/>
                    <a:pt x="3" y="522"/>
                  </a:cubicBezTo>
                  <a:cubicBezTo>
                    <a:pt x="40" y="508"/>
                    <a:pt x="89" y="504"/>
                    <a:pt x="159" y="504"/>
                  </a:cubicBezTo>
                  <a:cubicBezTo>
                    <a:pt x="231" y="505"/>
                    <a:pt x="270" y="513"/>
                    <a:pt x="293" y="519"/>
                  </a:cubicBezTo>
                  <a:cubicBezTo>
                    <a:pt x="295" y="520"/>
                    <a:pt x="296" y="520"/>
                    <a:pt x="298" y="520"/>
                  </a:cubicBezTo>
                  <a:cubicBezTo>
                    <a:pt x="306" y="520"/>
                    <a:pt x="308" y="514"/>
                    <a:pt x="308" y="514"/>
                  </a:cubicBezTo>
                  <a:cubicBezTo>
                    <a:pt x="308" y="31"/>
                    <a:pt x="308" y="31"/>
                    <a:pt x="308" y="31"/>
                  </a:cubicBezTo>
                  <a:cubicBezTo>
                    <a:pt x="308" y="31"/>
                    <a:pt x="308" y="31"/>
                    <a:pt x="308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4" name="Freeform 8"/>
            <p:cNvSpPr>
              <a:spLocks/>
            </p:cNvSpPr>
            <p:nvPr/>
          </p:nvSpPr>
          <p:spPr bwMode="auto">
            <a:xfrm>
              <a:off x="2114" y="1478"/>
              <a:ext cx="766" cy="1236"/>
            </a:xfrm>
            <a:custGeom>
              <a:avLst/>
              <a:gdLst>
                <a:gd name="T0" fmla="*/ 178 w 324"/>
                <a:gd name="T1" fmla="*/ 0 h 523"/>
                <a:gd name="T2" fmla="*/ 12 w 324"/>
                <a:gd name="T3" fmla="*/ 16 h 523"/>
                <a:gd name="T4" fmla="*/ 0 w 324"/>
                <a:gd name="T5" fmla="*/ 31 h 523"/>
                <a:gd name="T6" fmla="*/ 0 w 324"/>
                <a:gd name="T7" fmla="*/ 34 h 523"/>
                <a:gd name="T8" fmla="*/ 0 w 324"/>
                <a:gd name="T9" fmla="*/ 514 h 523"/>
                <a:gd name="T10" fmla="*/ 13 w 324"/>
                <a:gd name="T11" fmla="*/ 523 h 523"/>
                <a:gd name="T12" fmla="*/ 17 w 324"/>
                <a:gd name="T13" fmla="*/ 522 h 523"/>
                <a:gd name="T14" fmla="*/ 172 w 324"/>
                <a:gd name="T15" fmla="*/ 504 h 523"/>
                <a:gd name="T16" fmla="*/ 324 w 324"/>
                <a:gd name="T17" fmla="*/ 520 h 523"/>
                <a:gd name="T18" fmla="*/ 324 w 324"/>
                <a:gd name="T19" fmla="*/ 40 h 523"/>
                <a:gd name="T20" fmla="*/ 178 w 324"/>
                <a:gd name="T21" fmla="*/ 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4" h="523">
                  <a:moveTo>
                    <a:pt x="178" y="0"/>
                  </a:moveTo>
                  <a:cubicBezTo>
                    <a:pt x="137" y="0"/>
                    <a:pt x="82" y="5"/>
                    <a:pt x="12" y="16"/>
                  </a:cubicBezTo>
                  <a:cubicBezTo>
                    <a:pt x="2" y="17"/>
                    <a:pt x="0" y="31"/>
                    <a:pt x="0" y="31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0" y="514"/>
                    <a:pt x="4" y="523"/>
                    <a:pt x="13" y="523"/>
                  </a:cubicBezTo>
                  <a:cubicBezTo>
                    <a:pt x="14" y="523"/>
                    <a:pt x="16" y="522"/>
                    <a:pt x="17" y="522"/>
                  </a:cubicBezTo>
                  <a:cubicBezTo>
                    <a:pt x="41" y="516"/>
                    <a:pt x="100" y="505"/>
                    <a:pt x="172" y="504"/>
                  </a:cubicBezTo>
                  <a:cubicBezTo>
                    <a:pt x="239" y="504"/>
                    <a:pt x="287" y="508"/>
                    <a:pt x="324" y="520"/>
                  </a:cubicBezTo>
                  <a:cubicBezTo>
                    <a:pt x="324" y="40"/>
                    <a:pt x="324" y="40"/>
                    <a:pt x="324" y="40"/>
                  </a:cubicBezTo>
                  <a:cubicBezTo>
                    <a:pt x="309" y="25"/>
                    <a:pt x="279" y="0"/>
                    <a:pt x="17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145" name="Freeform 35"/>
          <p:cNvSpPr>
            <a:spLocks/>
          </p:cNvSpPr>
          <p:nvPr userDrawn="1"/>
        </p:nvSpPr>
        <p:spPr bwMode="auto">
          <a:xfrm rot="2361117">
            <a:off x="2231466" y="3330618"/>
            <a:ext cx="550217" cy="691705"/>
          </a:xfrm>
          <a:custGeom>
            <a:avLst/>
            <a:gdLst>
              <a:gd name="T0" fmla="*/ 407 w 411"/>
              <a:gd name="T1" fmla="*/ 363 h 636"/>
              <a:gd name="T2" fmla="*/ 221 w 411"/>
              <a:gd name="T3" fmla="*/ 8 h 636"/>
              <a:gd name="T4" fmla="*/ 214 w 411"/>
              <a:gd name="T5" fmla="*/ 10 h 636"/>
              <a:gd name="T6" fmla="*/ 214 w 411"/>
              <a:gd name="T7" fmla="*/ 324 h 636"/>
              <a:gd name="T8" fmla="*/ 227 w 411"/>
              <a:gd name="T9" fmla="*/ 348 h 636"/>
              <a:gd name="T10" fmla="*/ 247 w 411"/>
              <a:gd name="T11" fmla="*/ 381 h 636"/>
              <a:gd name="T12" fmla="*/ 206 w 411"/>
              <a:gd name="T13" fmla="*/ 422 h 636"/>
              <a:gd name="T14" fmla="*/ 164 w 411"/>
              <a:gd name="T15" fmla="*/ 381 h 636"/>
              <a:gd name="T16" fmla="*/ 184 w 411"/>
              <a:gd name="T17" fmla="*/ 348 h 636"/>
              <a:gd name="T18" fmla="*/ 198 w 411"/>
              <a:gd name="T19" fmla="*/ 324 h 636"/>
              <a:gd name="T20" fmla="*/ 198 w 411"/>
              <a:gd name="T21" fmla="*/ 13 h 636"/>
              <a:gd name="T22" fmla="*/ 190 w 411"/>
              <a:gd name="T23" fmla="*/ 11 h 636"/>
              <a:gd name="T24" fmla="*/ 4 w 411"/>
              <a:gd name="T25" fmla="*/ 365 h 636"/>
              <a:gd name="T26" fmla="*/ 9 w 411"/>
              <a:gd name="T27" fmla="*/ 390 h 636"/>
              <a:gd name="T28" fmla="*/ 122 w 411"/>
              <a:gd name="T29" fmla="*/ 498 h 636"/>
              <a:gd name="T30" fmla="*/ 122 w 411"/>
              <a:gd name="T31" fmla="*/ 620 h 636"/>
              <a:gd name="T32" fmla="*/ 138 w 411"/>
              <a:gd name="T33" fmla="*/ 636 h 636"/>
              <a:gd name="T34" fmla="*/ 274 w 411"/>
              <a:gd name="T35" fmla="*/ 636 h 636"/>
              <a:gd name="T36" fmla="*/ 290 w 411"/>
              <a:gd name="T37" fmla="*/ 620 h 636"/>
              <a:gd name="T38" fmla="*/ 290 w 411"/>
              <a:gd name="T39" fmla="*/ 501 h 636"/>
              <a:gd name="T40" fmla="*/ 403 w 411"/>
              <a:gd name="T41" fmla="*/ 388 h 636"/>
              <a:gd name="T42" fmla="*/ 407 w 411"/>
              <a:gd name="T43" fmla="*/ 363 h 6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1" h="636">
                <a:moveTo>
                  <a:pt x="407" y="363"/>
                </a:moveTo>
                <a:cubicBezTo>
                  <a:pt x="221" y="8"/>
                  <a:pt x="221" y="8"/>
                  <a:pt x="221" y="8"/>
                </a:cubicBezTo>
                <a:cubicBezTo>
                  <a:pt x="217" y="0"/>
                  <a:pt x="214" y="1"/>
                  <a:pt x="214" y="10"/>
                </a:cubicBezTo>
                <a:cubicBezTo>
                  <a:pt x="214" y="324"/>
                  <a:pt x="214" y="324"/>
                  <a:pt x="214" y="324"/>
                </a:cubicBezTo>
                <a:cubicBezTo>
                  <a:pt x="214" y="333"/>
                  <a:pt x="220" y="344"/>
                  <a:pt x="227" y="348"/>
                </a:cubicBezTo>
                <a:cubicBezTo>
                  <a:pt x="227" y="348"/>
                  <a:pt x="247" y="360"/>
                  <a:pt x="247" y="381"/>
                </a:cubicBezTo>
                <a:cubicBezTo>
                  <a:pt x="247" y="403"/>
                  <a:pt x="229" y="422"/>
                  <a:pt x="206" y="422"/>
                </a:cubicBezTo>
                <a:cubicBezTo>
                  <a:pt x="183" y="422"/>
                  <a:pt x="164" y="403"/>
                  <a:pt x="164" y="381"/>
                </a:cubicBezTo>
                <a:cubicBezTo>
                  <a:pt x="164" y="360"/>
                  <a:pt x="184" y="348"/>
                  <a:pt x="184" y="348"/>
                </a:cubicBezTo>
                <a:cubicBezTo>
                  <a:pt x="191" y="344"/>
                  <a:pt x="198" y="333"/>
                  <a:pt x="198" y="324"/>
                </a:cubicBezTo>
                <a:cubicBezTo>
                  <a:pt x="198" y="13"/>
                  <a:pt x="198" y="13"/>
                  <a:pt x="198" y="13"/>
                </a:cubicBezTo>
                <a:cubicBezTo>
                  <a:pt x="198" y="4"/>
                  <a:pt x="194" y="3"/>
                  <a:pt x="190" y="11"/>
                </a:cubicBezTo>
                <a:cubicBezTo>
                  <a:pt x="4" y="365"/>
                  <a:pt x="4" y="365"/>
                  <a:pt x="4" y="365"/>
                </a:cubicBezTo>
                <a:cubicBezTo>
                  <a:pt x="0" y="373"/>
                  <a:pt x="2" y="384"/>
                  <a:pt x="9" y="390"/>
                </a:cubicBezTo>
                <a:cubicBezTo>
                  <a:pt x="122" y="498"/>
                  <a:pt x="122" y="498"/>
                  <a:pt x="122" y="498"/>
                </a:cubicBezTo>
                <a:cubicBezTo>
                  <a:pt x="122" y="620"/>
                  <a:pt x="122" y="620"/>
                  <a:pt x="122" y="620"/>
                </a:cubicBezTo>
                <a:cubicBezTo>
                  <a:pt x="122" y="629"/>
                  <a:pt x="129" y="636"/>
                  <a:pt x="138" y="636"/>
                </a:cubicBezTo>
                <a:cubicBezTo>
                  <a:pt x="274" y="636"/>
                  <a:pt x="274" y="636"/>
                  <a:pt x="274" y="636"/>
                </a:cubicBezTo>
                <a:cubicBezTo>
                  <a:pt x="283" y="636"/>
                  <a:pt x="290" y="629"/>
                  <a:pt x="290" y="620"/>
                </a:cubicBezTo>
                <a:cubicBezTo>
                  <a:pt x="290" y="501"/>
                  <a:pt x="290" y="501"/>
                  <a:pt x="290" y="501"/>
                </a:cubicBezTo>
                <a:cubicBezTo>
                  <a:pt x="403" y="388"/>
                  <a:pt x="403" y="388"/>
                  <a:pt x="403" y="388"/>
                </a:cubicBezTo>
                <a:cubicBezTo>
                  <a:pt x="409" y="382"/>
                  <a:pt x="411" y="371"/>
                  <a:pt x="407" y="363"/>
                </a:cubicBezTo>
                <a:close/>
              </a:path>
            </a:pathLst>
          </a:custGeom>
          <a:solidFill>
            <a:srgbClr val="19478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46" name="Freeform 36"/>
          <p:cNvSpPr>
            <a:spLocks/>
          </p:cNvSpPr>
          <p:nvPr userDrawn="1"/>
        </p:nvSpPr>
        <p:spPr bwMode="auto">
          <a:xfrm rot="2361117">
            <a:off x="2572845" y="3414843"/>
            <a:ext cx="538318" cy="480786"/>
          </a:xfrm>
          <a:custGeom>
            <a:avLst/>
            <a:gdLst>
              <a:gd name="T0" fmla="*/ 340 w 342"/>
              <a:gd name="T1" fmla="*/ 355 h 376"/>
              <a:gd name="T2" fmla="*/ 254 w 342"/>
              <a:gd name="T3" fmla="*/ 338 h 376"/>
              <a:gd name="T4" fmla="*/ 239 w 342"/>
              <a:gd name="T5" fmla="*/ 216 h 376"/>
              <a:gd name="T6" fmla="*/ 228 w 342"/>
              <a:gd name="T7" fmla="*/ 76 h 376"/>
              <a:gd name="T8" fmla="*/ 164 w 342"/>
              <a:gd name="T9" fmla="*/ 17 h 376"/>
              <a:gd name="T10" fmla="*/ 39 w 342"/>
              <a:gd name="T11" fmla="*/ 27 h 376"/>
              <a:gd name="T12" fmla="*/ 30 w 342"/>
              <a:gd name="T13" fmla="*/ 21 h 376"/>
              <a:gd name="T14" fmla="*/ 10 w 342"/>
              <a:gd name="T15" fmla="*/ 21 h 376"/>
              <a:gd name="T16" fmla="*/ 0 w 342"/>
              <a:gd name="T17" fmla="*/ 31 h 376"/>
              <a:gd name="T18" fmla="*/ 0 w 342"/>
              <a:gd name="T19" fmla="*/ 51 h 376"/>
              <a:gd name="T20" fmla="*/ 10 w 342"/>
              <a:gd name="T21" fmla="*/ 61 h 376"/>
              <a:gd name="T22" fmla="*/ 30 w 342"/>
              <a:gd name="T23" fmla="*/ 61 h 376"/>
              <a:gd name="T24" fmla="*/ 40 w 342"/>
              <a:gd name="T25" fmla="*/ 51 h 376"/>
              <a:gd name="T26" fmla="*/ 40 w 342"/>
              <a:gd name="T27" fmla="*/ 48 h 376"/>
              <a:gd name="T28" fmla="*/ 158 w 342"/>
              <a:gd name="T29" fmla="*/ 36 h 376"/>
              <a:gd name="T30" fmla="*/ 210 w 342"/>
              <a:gd name="T31" fmla="*/ 84 h 376"/>
              <a:gd name="T32" fmla="*/ 219 w 342"/>
              <a:gd name="T33" fmla="*/ 214 h 376"/>
              <a:gd name="T34" fmla="*/ 240 w 342"/>
              <a:gd name="T35" fmla="*/ 352 h 376"/>
              <a:gd name="T36" fmla="*/ 315 w 342"/>
              <a:gd name="T37" fmla="*/ 376 h 376"/>
              <a:gd name="T38" fmla="*/ 342 w 342"/>
              <a:gd name="T39" fmla="*/ 375 h 376"/>
              <a:gd name="T40" fmla="*/ 340 w 342"/>
              <a:gd name="T41" fmla="*/ 355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42" h="376">
                <a:moveTo>
                  <a:pt x="340" y="355"/>
                </a:moveTo>
                <a:cubicBezTo>
                  <a:pt x="298" y="359"/>
                  <a:pt x="270" y="353"/>
                  <a:pt x="254" y="338"/>
                </a:cubicBezTo>
                <a:cubicBezTo>
                  <a:pt x="230" y="314"/>
                  <a:pt x="234" y="266"/>
                  <a:pt x="239" y="216"/>
                </a:cubicBezTo>
                <a:cubicBezTo>
                  <a:pt x="243" y="167"/>
                  <a:pt x="248" y="116"/>
                  <a:pt x="228" y="76"/>
                </a:cubicBezTo>
                <a:cubicBezTo>
                  <a:pt x="214" y="46"/>
                  <a:pt x="193" y="26"/>
                  <a:pt x="164" y="17"/>
                </a:cubicBezTo>
                <a:cubicBezTo>
                  <a:pt x="117" y="0"/>
                  <a:pt x="63" y="17"/>
                  <a:pt x="39" y="27"/>
                </a:cubicBezTo>
                <a:cubicBezTo>
                  <a:pt x="37" y="23"/>
                  <a:pt x="34" y="21"/>
                  <a:pt x="30" y="21"/>
                </a:cubicBezTo>
                <a:cubicBezTo>
                  <a:pt x="10" y="21"/>
                  <a:pt x="10" y="21"/>
                  <a:pt x="10" y="21"/>
                </a:cubicBezTo>
                <a:cubicBezTo>
                  <a:pt x="4" y="21"/>
                  <a:pt x="0" y="25"/>
                  <a:pt x="0" y="31"/>
                </a:cubicBezTo>
                <a:cubicBezTo>
                  <a:pt x="0" y="51"/>
                  <a:pt x="0" y="51"/>
                  <a:pt x="0" y="51"/>
                </a:cubicBezTo>
                <a:cubicBezTo>
                  <a:pt x="0" y="57"/>
                  <a:pt x="4" y="61"/>
                  <a:pt x="10" y="61"/>
                </a:cubicBezTo>
                <a:cubicBezTo>
                  <a:pt x="30" y="61"/>
                  <a:pt x="30" y="61"/>
                  <a:pt x="30" y="61"/>
                </a:cubicBezTo>
                <a:cubicBezTo>
                  <a:pt x="36" y="61"/>
                  <a:pt x="40" y="57"/>
                  <a:pt x="40" y="51"/>
                </a:cubicBezTo>
                <a:cubicBezTo>
                  <a:pt x="40" y="48"/>
                  <a:pt x="40" y="48"/>
                  <a:pt x="40" y="48"/>
                </a:cubicBezTo>
                <a:cubicBezTo>
                  <a:pt x="56" y="41"/>
                  <a:pt x="112" y="20"/>
                  <a:pt x="158" y="36"/>
                </a:cubicBezTo>
                <a:cubicBezTo>
                  <a:pt x="181" y="44"/>
                  <a:pt x="198" y="60"/>
                  <a:pt x="210" y="84"/>
                </a:cubicBezTo>
                <a:cubicBezTo>
                  <a:pt x="227" y="120"/>
                  <a:pt x="223" y="168"/>
                  <a:pt x="219" y="214"/>
                </a:cubicBezTo>
                <a:cubicBezTo>
                  <a:pt x="214" y="270"/>
                  <a:pt x="210" y="322"/>
                  <a:pt x="240" y="352"/>
                </a:cubicBezTo>
                <a:cubicBezTo>
                  <a:pt x="257" y="368"/>
                  <a:pt x="281" y="376"/>
                  <a:pt x="315" y="376"/>
                </a:cubicBezTo>
                <a:cubicBezTo>
                  <a:pt x="323" y="376"/>
                  <a:pt x="332" y="376"/>
                  <a:pt x="342" y="375"/>
                </a:cubicBezTo>
                <a:lnTo>
                  <a:pt x="340" y="355"/>
                </a:lnTo>
                <a:close/>
              </a:path>
            </a:pathLst>
          </a:custGeom>
          <a:solidFill>
            <a:srgbClr val="19478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147" name="Group 5"/>
          <p:cNvGrpSpPr>
            <a:grpSpLocks noChangeAspect="1"/>
          </p:cNvGrpSpPr>
          <p:nvPr userDrawn="1"/>
        </p:nvGrpSpPr>
        <p:grpSpPr bwMode="auto">
          <a:xfrm>
            <a:off x="599670" y="3217064"/>
            <a:ext cx="850874" cy="872380"/>
            <a:chOff x="2176" y="1276"/>
            <a:chExt cx="1407" cy="1775"/>
          </a:xfrm>
          <a:solidFill>
            <a:srgbClr val="194780"/>
          </a:solidFill>
        </p:grpSpPr>
        <p:sp>
          <p:nvSpPr>
            <p:cNvPr id="148" name="Freeform 6"/>
            <p:cNvSpPr>
              <a:spLocks/>
            </p:cNvSpPr>
            <p:nvPr/>
          </p:nvSpPr>
          <p:spPr bwMode="auto">
            <a:xfrm>
              <a:off x="2903" y="2788"/>
              <a:ext cx="246" cy="263"/>
            </a:xfrm>
            <a:custGeom>
              <a:avLst/>
              <a:gdLst>
                <a:gd name="T0" fmla="*/ 24 w 104"/>
                <a:gd name="T1" fmla="*/ 105 h 111"/>
                <a:gd name="T2" fmla="*/ 7 w 104"/>
                <a:gd name="T3" fmla="*/ 97 h 111"/>
                <a:gd name="T4" fmla="*/ 0 w 104"/>
                <a:gd name="T5" fmla="*/ 0 h 111"/>
                <a:gd name="T6" fmla="*/ 104 w 104"/>
                <a:gd name="T7" fmla="*/ 50 h 111"/>
                <a:gd name="T8" fmla="*/ 24 w 104"/>
                <a:gd name="T9" fmla="*/ 105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" h="111">
                  <a:moveTo>
                    <a:pt x="24" y="105"/>
                  </a:moveTo>
                  <a:cubicBezTo>
                    <a:pt x="15" y="111"/>
                    <a:pt x="8" y="107"/>
                    <a:pt x="7" y="9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4" y="50"/>
                    <a:pt x="104" y="50"/>
                    <a:pt x="104" y="50"/>
                  </a:cubicBezTo>
                  <a:lnTo>
                    <a:pt x="24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9" name="Freeform 7"/>
            <p:cNvSpPr>
              <a:spLocks/>
            </p:cNvSpPr>
            <p:nvPr/>
          </p:nvSpPr>
          <p:spPr bwMode="auto">
            <a:xfrm>
              <a:off x="2922" y="2061"/>
              <a:ext cx="579" cy="808"/>
            </a:xfrm>
            <a:custGeom>
              <a:avLst/>
              <a:gdLst>
                <a:gd name="T0" fmla="*/ 248 w 579"/>
                <a:gd name="T1" fmla="*/ 808 h 808"/>
                <a:gd name="T2" fmla="*/ 0 w 579"/>
                <a:gd name="T3" fmla="*/ 690 h 808"/>
                <a:gd name="T4" fmla="*/ 333 w 579"/>
                <a:gd name="T5" fmla="*/ 0 h 808"/>
                <a:gd name="T6" fmla="*/ 579 w 579"/>
                <a:gd name="T7" fmla="*/ 118 h 808"/>
                <a:gd name="T8" fmla="*/ 248 w 579"/>
                <a:gd name="T9" fmla="*/ 808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9" h="808">
                  <a:moveTo>
                    <a:pt x="248" y="808"/>
                  </a:moveTo>
                  <a:lnTo>
                    <a:pt x="0" y="690"/>
                  </a:lnTo>
                  <a:lnTo>
                    <a:pt x="333" y="0"/>
                  </a:lnTo>
                  <a:lnTo>
                    <a:pt x="579" y="118"/>
                  </a:lnTo>
                  <a:lnTo>
                    <a:pt x="248" y="8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0" name="Freeform 8"/>
            <p:cNvSpPr>
              <a:spLocks/>
            </p:cNvSpPr>
            <p:nvPr/>
          </p:nvSpPr>
          <p:spPr bwMode="auto">
            <a:xfrm>
              <a:off x="3267" y="1881"/>
              <a:ext cx="316" cy="272"/>
            </a:xfrm>
            <a:custGeom>
              <a:avLst/>
              <a:gdLst>
                <a:gd name="T0" fmla="*/ 104 w 134"/>
                <a:gd name="T1" fmla="*/ 115 h 115"/>
                <a:gd name="T2" fmla="*/ 0 w 134"/>
                <a:gd name="T3" fmla="*/ 65 h 115"/>
                <a:gd name="T4" fmla="*/ 26 w 134"/>
                <a:gd name="T5" fmla="*/ 11 h 115"/>
                <a:gd name="T6" fmla="*/ 47 w 134"/>
                <a:gd name="T7" fmla="*/ 4 h 115"/>
                <a:gd name="T8" fmla="*/ 123 w 134"/>
                <a:gd name="T9" fmla="*/ 40 h 115"/>
                <a:gd name="T10" fmla="*/ 130 w 134"/>
                <a:gd name="T11" fmla="*/ 61 h 115"/>
                <a:gd name="T12" fmla="*/ 104 w 134"/>
                <a:gd name="T13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115">
                  <a:moveTo>
                    <a:pt x="104" y="115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30" y="3"/>
                    <a:pt x="39" y="0"/>
                    <a:pt x="47" y="4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31" y="44"/>
                    <a:pt x="134" y="53"/>
                    <a:pt x="130" y="61"/>
                  </a:cubicBezTo>
                  <a:lnTo>
                    <a:pt x="104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1" name="Freeform 9"/>
            <p:cNvSpPr>
              <a:spLocks/>
            </p:cNvSpPr>
            <p:nvPr/>
          </p:nvSpPr>
          <p:spPr bwMode="auto">
            <a:xfrm>
              <a:off x="3184" y="2422"/>
              <a:ext cx="258" cy="527"/>
            </a:xfrm>
            <a:custGeom>
              <a:avLst/>
              <a:gdLst>
                <a:gd name="T0" fmla="*/ 94 w 109"/>
                <a:gd name="T1" fmla="*/ 223 h 223"/>
                <a:gd name="T2" fmla="*/ 109 w 109"/>
                <a:gd name="T3" fmla="*/ 205 h 223"/>
                <a:gd name="T4" fmla="*/ 109 w 109"/>
                <a:gd name="T5" fmla="*/ 0 h 223"/>
                <a:gd name="T6" fmla="*/ 0 w 109"/>
                <a:gd name="T7" fmla="*/ 223 h 223"/>
                <a:gd name="T8" fmla="*/ 94 w 109"/>
                <a:gd name="T9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223">
                  <a:moveTo>
                    <a:pt x="94" y="223"/>
                  </a:moveTo>
                  <a:cubicBezTo>
                    <a:pt x="102" y="223"/>
                    <a:pt x="109" y="214"/>
                    <a:pt x="109" y="205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0" y="223"/>
                    <a:pt x="0" y="223"/>
                    <a:pt x="0" y="223"/>
                  </a:cubicBezTo>
                  <a:lnTo>
                    <a:pt x="94" y="2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2" name="Freeform 10"/>
            <p:cNvSpPr>
              <a:spLocks noEditPoints="1"/>
            </p:cNvSpPr>
            <p:nvPr/>
          </p:nvSpPr>
          <p:spPr bwMode="auto">
            <a:xfrm>
              <a:off x="2176" y="1276"/>
              <a:ext cx="1266" cy="1673"/>
            </a:xfrm>
            <a:custGeom>
              <a:avLst/>
              <a:gdLst>
                <a:gd name="T0" fmla="*/ 72 w 536"/>
                <a:gd name="T1" fmla="*/ 624 h 708"/>
                <a:gd name="T2" fmla="*/ 72 w 536"/>
                <a:gd name="T3" fmla="*/ 608 h 708"/>
                <a:gd name="T4" fmla="*/ 295 w 536"/>
                <a:gd name="T5" fmla="*/ 607 h 708"/>
                <a:gd name="T6" fmla="*/ 72 w 536"/>
                <a:gd name="T7" fmla="*/ 572 h 708"/>
                <a:gd name="T8" fmla="*/ 72 w 536"/>
                <a:gd name="T9" fmla="*/ 556 h 708"/>
                <a:gd name="T10" fmla="*/ 337 w 536"/>
                <a:gd name="T11" fmla="*/ 520 h 708"/>
                <a:gd name="T12" fmla="*/ 64 w 536"/>
                <a:gd name="T13" fmla="*/ 512 h 708"/>
                <a:gd name="T14" fmla="*/ 345 w 536"/>
                <a:gd name="T15" fmla="*/ 504 h 708"/>
                <a:gd name="T16" fmla="*/ 72 w 536"/>
                <a:gd name="T17" fmla="*/ 468 h 708"/>
                <a:gd name="T18" fmla="*/ 72 w 536"/>
                <a:gd name="T19" fmla="*/ 452 h 708"/>
                <a:gd name="T20" fmla="*/ 387 w 536"/>
                <a:gd name="T21" fmla="*/ 416 h 708"/>
                <a:gd name="T22" fmla="*/ 64 w 536"/>
                <a:gd name="T23" fmla="*/ 408 h 708"/>
                <a:gd name="T24" fmla="*/ 395 w 536"/>
                <a:gd name="T25" fmla="*/ 400 h 708"/>
                <a:gd name="T26" fmla="*/ 462 w 536"/>
                <a:gd name="T27" fmla="*/ 261 h 708"/>
                <a:gd name="T28" fmla="*/ 516 w 536"/>
                <a:gd name="T29" fmla="*/ 242 h 708"/>
                <a:gd name="T30" fmla="*/ 536 w 536"/>
                <a:gd name="T31" fmla="*/ 152 h 708"/>
                <a:gd name="T32" fmla="*/ 420 w 536"/>
                <a:gd name="T33" fmla="*/ 12 h 708"/>
                <a:gd name="T34" fmla="*/ 16 w 536"/>
                <a:gd name="T35" fmla="*/ 0 h 708"/>
                <a:gd name="T36" fmla="*/ 0 w 536"/>
                <a:gd name="T37" fmla="*/ 690 h 708"/>
                <a:gd name="T38" fmla="*/ 289 w 536"/>
                <a:gd name="T39" fmla="*/ 708 h 708"/>
                <a:gd name="T40" fmla="*/ 287 w 536"/>
                <a:gd name="T41" fmla="*/ 624 h 708"/>
                <a:gd name="T42" fmla="*/ 408 w 536"/>
                <a:gd name="T43" fmla="*/ 140 h 708"/>
                <a:gd name="T44" fmla="*/ 408 w 536"/>
                <a:gd name="T45" fmla="*/ 156 h 708"/>
                <a:gd name="T46" fmla="*/ 64 w 536"/>
                <a:gd name="T47" fmla="*/ 148 h 708"/>
                <a:gd name="T48" fmla="*/ 72 w 536"/>
                <a:gd name="T49" fmla="*/ 196 h 708"/>
                <a:gd name="T50" fmla="*/ 480 w 536"/>
                <a:gd name="T51" fmla="*/ 204 h 708"/>
                <a:gd name="T52" fmla="*/ 72 w 536"/>
                <a:gd name="T53" fmla="*/ 212 h 708"/>
                <a:gd name="T54" fmla="*/ 72 w 536"/>
                <a:gd name="T55" fmla="*/ 196 h 708"/>
                <a:gd name="T56" fmla="*/ 408 w 536"/>
                <a:gd name="T57" fmla="*/ 252 h 708"/>
                <a:gd name="T58" fmla="*/ 408 w 536"/>
                <a:gd name="T59" fmla="*/ 268 h 708"/>
                <a:gd name="T60" fmla="*/ 64 w 536"/>
                <a:gd name="T61" fmla="*/ 260 h 708"/>
                <a:gd name="T62" fmla="*/ 72 w 536"/>
                <a:gd name="T63" fmla="*/ 308 h 708"/>
                <a:gd name="T64" fmla="*/ 416 w 536"/>
                <a:gd name="T65" fmla="*/ 316 h 708"/>
                <a:gd name="T66" fmla="*/ 72 w 536"/>
                <a:gd name="T67" fmla="*/ 324 h 708"/>
                <a:gd name="T68" fmla="*/ 72 w 536"/>
                <a:gd name="T69" fmla="*/ 308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36" h="708">
                  <a:moveTo>
                    <a:pt x="287" y="624"/>
                  </a:moveTo>
                  <a:cubicBezTo>
                    <a:pt x="72" y="624"/>
                    <a:pt x="72" y="624"/>
                    <a:pt x="72" y="624"/>
                  </a:cubicBezTo>
                  <a:cubicBezTo>
                    <a:pt x="68" y="624"/>
                    <a:pt x="64" y="620"/>
                    <a:pt x="64" y="616"/>
                  </a:cubicBezTo>
                  <a:cubicBezTo>
                    <a:pt x="64" y="612"/>
                    <a:pt x="68" y="608"/>
                    <a:pt x="72" y="608"/>
                  </a:cubicBezTo>
                  <a:cubicBezTo>
                    <a:pt x="295" y="608"/>
                    <a:pt x="295" y="608"/>
                    <a:pt x="295" y="608"/>
                  </a:cubicBezTo>
                  <a:cubicBezTo>
                    <a:pt x="295" y="607"/>
                    <a:pt x="295" y="607"/>
                    <a:pt x="295" y="607"/>
                  </a:cubicBezTo>
                  <a:cubicBezTo>
                    <a:pt x="312" y="572"/>
                    <a:pt x="312" y="572"/>
                    <a:pt x="312" y="572"/>
                  </a:cubicBezTo>
                  <a:cubicBezTo>
                    <a:pt x="72" y="572"/>
                    <a:pt x="72" y="572"/>
                    <a:pt x="72" y="572"/>
                  </a:cubicBezTo>
                  <a:cubicBezTo>
                    <a:pt x="68" y="572"/>
                    <a:pt x="64" y="568"/>
                    <a:pt x="64" y="564"/>
                  </a:cubicBezTo>
                  <a:cubicBezTo>
                    <a:pt x="64" y="560"/>
                    <a:pt x="68" y="556"/>
                    <a:pt x="72" y="556"/>
                  </a:cubicBezTo>
                  <a:cubicBezTo>
                    <a:pt x="320" y="556"/>
                    <a:pt x="320" y="556"/>
                    <a:pt x="320" y="556"/>
                  </a:cubicBezTo>
                  <a:cubicBezTo>
                    <a:pt x="337" y="520"/>
                    <a:pt x="337" y="520"/>
                    <a:pt x="337" y="520"/>
                  </a:cubicBezTo>
                  <a:cubicBezTo>
                    <a:pt x="72" y="520"/>
                    <a:pt x="72" y="520"/>
                    <a:pt x="72" y="520"/>
                  </a:cubicBezTo>
                  <a:cubicBezTo>
                    <a:pt x="68" y="520"/>
                    <a:pt x="64" y="516"/>
                    <a:pt x="64" y="512"/>
                  </a:cubicBezTo>
                  <a:cubicBezTo>
                    <a:pt x="64" y="508"/>
                    <a:pt x="68" y="504"/>
                    <a:pt x="72" y="504"/>
                  </a:cubicBezTo>
                  <a:cubicBezTo>
                    <a:pt x="345" y="504"/>
                    <a:pt x="345" y="504"/>
                    <a:pt x="345" y="504"/>
                  </a:cubicBezTo>
                  <a:cubicBezTo>
                    <a:pt x="362" y="468"/>
                    <a:pt x="362" y="468"/>
                    <a:pt x="362" y="468"/>
                  </a:cubicBezTo>
                  <a:cubicBezTo>
                    <a:pt x="72" y="468"/>
                    <a:pt x="72" y="468"/>
                    <a:pt x="72" y="468"/>
                  </a:cubicBezTo>
                  <a:cubicBezTo>
                    <a:pt x="68" y="468"/>
                    <a:pt x="64" y="464"/>
                    <a:pt x="64" y="460"/>
                  </a:cubicBezTo>
                  <a:cubicBezTo>
                    <a:pt x="64" y="456"/>
                    <a:pt x="68" y="452"/>
                    <a:pt x="72" y="452"/>
                  </a:cubicBezTo>
                  <a:cubicBezTo>
                    <a:pt x="370" y="452"/>
                    <a:pt x="370" y="452"/>
                    <a:pt x="370" y="452"/>
                  </a:cubicBezTo>
                  <a:cubicBezTo>
                    <a:pt x="387" y="416"/>
                    <a:pt x="387" y="416"/>
                    <a:pt x="387" y="416"/>
                  </a:cubicBezTo>
                  <a:cubicBezTo>
                    <a:pt x="72" y="416"/>
                    <a:pt x="72" y="416"/>
                    <a:pt x="72" y="416"/>
                  </a:cubicBezTo>
                  <a:cubicBezTo>
                    <a:pt x="68" y="416"/>
                    <a:pt x="64" y="412"/>
                    <a:pt x="64" y="408"/>
                  </a:cubicBezTo>
                  <a:cubicBezTo>
                    <a:pt x="64" y="404"/>
                    <a:pt x="68" y="400"/>
                    <a:pt x="72" y="400"/>
                  </a:cubicBezTo>
                  <a:cubicBezTo>
                    <a:pt x="395" y="400"/>
                    <a:pt x="395" y="400"/>
                    <a:pt x="395" y="400"/>
                  </a:cubicBezTo>
                  <a:cubicBezTo>
                    <a:pt x="441" y="304"/>
                    <a:pt x="441" y="304"/>
                    <a:pt x="441" y="304"/>
                  </a:cubicBezTo>
                  <a:cubicBezTo>
                    <a:pt x="462" y="261"/>
                    <a:pt x="462" y="261"/>
                    <a:pt x="462" y="261"/>
                  </a:cubicBezTo>
                  <a:cubicBezTo>
                    <a:pt x="469" y="247"/>
                    <a:pt x="483" y="238"/>
                    <a:pt x="498" y="238"/>
                  </a:cubicBezTo>
                  <a:cubicBezTo>
                    <a:pt x="504" y="238"/>
                    <a:pt x="510" y="239"/>
                    <a:pt x="516" y="242"/>
                  </a:cubicBezTo>
                  <a:cubicBezTo>
                    <a:pt x="536" y="252"/>
                    <a:pt x="536" y="252"/>
                    <a:pt x="536" y="252"/>
                  </a:cubicBezTo>
                  <a:cubicBezTo>
                    <a:pt x="536" y="152"/>
                    <a:pt x="536" y="152"/>
                    <a:pt x="536" y="152"/>
                  </a:cubicBezTo>
                  <a:cubicBezTo>
                    <a:pt x="536" y="143"/>
                    <a:pt x="531" y="130"/>
                    <a:pt x="525" y="124"/>
                  </a:cubicBezTo>
                  <a:cubicBezTo>
                    <a:pt x="420" y="12"/>
                    <a:pt x="420" y="12"/>
                    <a:pt x="420" y="12"/>
                  </a:cubicBezTo>
                  <a:cubicBezTo>
                    <a:pt x="414" y="6"/>
                    <a:pt x="402" y="0"/>
                    <a:pt x="393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690"/>
                    <a:pt x="0" y="690"/>
                    <a:pt x="0" y="690"/>
                  </a:cubicBezTo>
                  <a:cubicBezTo>
                    <a:pt x="0" y="699"/>
                    <a:pt x="7" y="708"/>
                    <a:pt x="16" y="708"/>
                  </a:cubicBezTo>
                  <a:cubicBezTo>
                    <a:pt x="289" y="708"/>
                    <a:pt x="289" y="708"/>
                    <a:pt x="289" y="708"/>
                  </a:cubicBezTo>
                  <a:cubicBezTo>
                    <a:pt x="283" y="632"/>
                    <a:pt x="283" y="632"/>
                    <a:pt x="283" y="632"/>
                  </a:cubicBezTo>
                  <a:lnTo>
                    <a:pt x="287" y="624"/>
                  </a:lnTo>
                  <a:close/>
                  <a:moveTo>
                    <a:pt x="72" y="140"/>
                  </a:moveTo>
                  <a:cubicBezTo>
                    <a:pt x="408" y="140"/>
                    <a:pt x="408" y="140"/>
                    <a:pt x="408" y="140"/>
                  </a:cubicBezTo>
                  <a:cubicBezTo>
                    <a:pt x="412" y="140"/>
                    <a:pt x="416" y="144"/>
                    <a:pt x="416" y="148"/>
                  </a:cubicBezTo>
                  <a:cubicBezTo>
                    <a:pt x="416" y="152"/>
                    <a:pt x="412" y="156"/>
                    <a:pt x="408" y="156"/>
                  </a:cubicBezTo>
                  <a:cubicBezTo>
                    <a:pt x="72" y="156"/>
                    <a:pt x="72" y="156"/>
                    <a:pt x="72" y="156"/>
                  </a:cubicBezTo>
                  <a:cubicBezTo>
                    <a:pt x="68" y="156"/>
                    <a:pt x="64" y="152"/>
                    <a:pt x="64" y="148"/>
                  </a:cubicBezTo>
                  <a:cubicBezTo>
                    <a:pt x="64" y="144"/>
                    <a:pt x="68" y="140"/>
                    <a:pt x="72" y="140"/>
                  </a:cubicBezTo>
                  <a:close/>
                  <a:moveTo>
                    <a:pt x="72" y="196"/>
                  </a:moveTo>
                  <a:cubicBezTo>
                    <a:pt x="472" y="196"/>
                    <a:pt x="472" y="196"/>
                    <a:pt x="472" y="196"/>
                  </a:cubicBezTo>
                  <a:cubicBezTo>
                    <a:pt x="476" y="196"/>
                    <a:pt x="480" y="200"/>
                    <a:pt x="480" y="204"/>
                  </a:cubicBezTo>
                  <a:cubicBezTo>
                    <a:pt x="480" y="208"/>
                    <a:pt x="476" y="212"/>
                    <a:pt x="472" y="212"/>
                  </a:cubicBezTo>
                  <a:cubicBezTo>
                    <a:pt x="72" y="212"/>
                    <a:pt x="72" y="212"/>
                    <a:pt x="72" y="212"/>
                  </a:cubicBezTo>
                  <a:cubicBezTo>
                    <a:pt x="68" y="212"/>
                    <a:pt x="64" y="208"/>
                    <a:pt x="64" y="204"/>
                  </a:cubicBezTo>
                  <a:cubicBezTo>
                    <a:pt x="64" y="200"/>
                    <a:pt x="68" y="196"/>
                    <a:pt x="72" y="196"/>
                  </a:cubicBezTo>
                  <a:close/>
                  <a:moveTo>
                    <a:pt x="72" y="252"/>
                  </a:moveTo>
                  <a:cubicBezTo>
                    <a:pt x="408" y="252"/>
                    <a:pt x="408" y="252"/>
                    <a:pt x="408" y="252"/>
                  </a:cubicBezTo>
                  <a:cubicBezTo>
                    <a:pt x="412" y="252"/>
                    <a:pt x="416" y="256"/>
                    <a:pt x="416" y="260"/>
                  </a:cubicBezTo>
                  <a:cubicBezTo>
                    <a:pt x="416" y="264"/>
                    <a:pt x="412" y="268"/>
                    <a:pt x="408" y="268"/>
                  </a:cubicBezTo>
                  <a:cubicBezTo>
                    <a:pt x="72" y="268"/>
                    <a:pt x="72" y="268"/>
                    <a:pt x="72" y="268"/>
                  </a:cubicBezTo>
                  <a:cubicBezTo>
                    <a:pt x="68" y="268"/>
                    <a:pt x="64" y="264"/>
                    <a:pt x="64" y="260"/>
                  </a:cubicBezTo>
                  <a:cubicBezTo>
                    <a:pt x="64" y="256"/>
                    <a:pt x="68" y="252"/>
                    <a:pt x="72" y="252"/>
                  </a:cubicBezTo>
                  <a:close/>
                  <a:moveTo>
                    <a:pt x="72" y="308"/>
                  </a:moveTo>
                  <a:cubicBezTo>
                    <a:pt x="408" y="308"/>
                    <a:pt x="408" y="308"/>
                    <a:pt x="408" y="308"/>
                  </a:cubicBezTo>
                  <a:cubicBezTo>
                    <a:pt x="412" y="308"/>
                    <a:pt x="416" y="312"/>
                    <a:pt x="416" y="316"/>
                  </a:cubicBezTo>
                  <a:cubicBezTo>
                    <a:pt x="416" y="320"/>
                    <a:pt x="412" y="324"/>
                    <a:pt x="408" y="324"/>
                  </a:cubicBezTo>
                  <a:cubicBezTo>
                    <a:pt x="72" y="324"/>
                    <a:pt x="72" y="324"/>
                    <a:pt x="72" y="324"/>
                  </a:cubicBezTo>
                  <a:cubicBezTo>
                    <a:pt x="68" y="324"/>
                    <a:pt x="64" y="320"/>
                    <a:pt x="64" y="316"/>
                  </a:cubicBezTo>
                  <a:cubicBezTo>
                    <a:pt x="64" y="312"/>
                    <a:pt x="68" y="308"/>
                    <a:pt x="72" y="3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153" name="Group 37"/>
          <p:cNvGrpSpPr/>
          <p:nvPr userDrawn="1"/>
        </p:nvGrpSpPr>
        <p:grpSpPr bwMode="gray">
          <a:xfrm>
            <a:off x="468036" y="5749639"/>
            <a:ext cx="1482430" cy="886168"/>
            <a:chOff x="425222" y="2230074"/>
            <a:chExt cx="995693" cy="732370"/>
          </a:xfrm>
        </p:grpSpPr>
        <p:sp>
          <p:nvSpPr>
            <p:cNvPr id="154" name="Rounded Rectangle 38"/>
            <p:cNvSpPr/>
            <p:nvPr/>
          </p:nvSpPr>
          <p:spPr bwMode="gray">
            <a:xfrm>
              <a:off x="444371" y="2230074"/>
              <a:ext cx="976544" cy="732370"/>
            </a:xfrm>
            <a:prstGeom prst="roundRect">
              <a:avLst>
                <a:gd name="adj" fmla="val 2301"/>
              </a:avLst>
            </a:prstGeom>
            <a:solidFill>
              <a:srgbClr val="194780"/>
            </a:solidFill>
            <a:ln w="285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i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grpSp>
          <p:nvGrpSpPr>
            <p:cNvPr id="155" name="Group 39"/>
            <p:cNvGrpSpPr/>
            <p:nvPr/>
          </p:nvGrpSpPr>
          <p:grpSpPr bwMode="gray">
            <a:xfrm>
              <a:off x="933196" y="2779623"/>
              <a:ext cx="409809" cy="39987"/>
              <a:chOff x="1322803" y="2228268"/>
              <a:chExt cx="501614" cy="39987"/>
            </a:xfrm>
            <a:solidFill>
              <a:schemeClr val="bg1"/>
            </a:solidFill>
          </p:grpSpPr>
          <p:sp>
            <p:nvSpPr>
              <p:cNvPr id="179" name="Rounded Rectangle 89"/>
              <p:cNvSpPr/>
              <p:nvPr/>
            </p:nvSpPr>
            <p:spPr bwMode="gray">
              <a:xfrm>
                <a:off x="1677263" y="2228268"/>
                <a:ext cx="147154" cy="39987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400">
                  <a:solidFill>
                    <a:srgbClr val="FFFFFF"/>
                  </a:solidFill>
                </a:endParaRPr>
              </a:p>
            </p:txBody>
          </p:sp>
          <p:sp>
            <p:nvSpPr>
              <p:cNvPr id="180" name="Rounded Rectangle 90"/>
              <p:cNvSpPr/>
              <p:nvPr/>
            </p:nvSpPr>
            <p:spPr bwMode="gray">
              <a:xfrm>
                <a:off x="1322803" y="2228268"/>
                <a:ext cx="147154" cy="39987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400">
                  <a:solidFill>
                    <a:srgbClr val="FFFFFF"/>
                  </a:solidFill>
                </a:endParaRPr>
              </a:p>
            </p:txBody>
          </p:sp>
          <p:sp>
            <p:nvSpPr>
              <p:cNvPr id="181" name="Rounded Rectangle 91"/>
              <p:cNvSpPr/>
              <p:nvPr/>
            </p:nvSpPr>
            <p:spPr bwMode="gray">
              <a:xfrm>
                <a:off x="1500576" y="2228268"/>
                <a:ext cx="147154" cy="39987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400">
                  <a:solidFill>
                    <a:srgbClr val="FFFFFF"/>
                  </a:solidFill>
                </a:endParaRPr>
              </a:p>
            </p:txBody>
          </p:sp>
        </p:grpSp>
        <p:cxnSp>
          <p:nvCxnSpPr>
            <p:cNvPr id="156" name="Straight Connector 40"/>
            <p:cNvCxnSpPr/>
            <p:nvPr/>
          </p:nvCxnSpPr>
          <p:spPr bwMode="gray">
            <a:xfrm flipH="1">
              <a:off x="1137356" y="2575604"/>
              <a:ext cx="303" cy="63410"/>
            </a:xfrm>
            <a:prstGeom prst="line">
              <a:avLst/>
            </a:prstGeom>
            <a:solidFill>
              <a:schemeClr val="accent3">
                <a:lumMod val="50000"/>
              </a:schemeClr>
            </a:solidFill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Connector 41"/>
            <p:cNvCxnSpPr/>
            <p:nvPr/>
          </p:nvCxnSpPr>
          <p:spPr bwMode="gray">
            <a:xfrm>
              <a:off x="1063795" y="2643776"/>
              <a:ext cx="147425" cy="0"/>
            </a:xfrm>
            <a:prstGeom prst="line">
              <a:avLst/>
            </a:prstGeom>
            <a:solidFill>
              <a:schemeClr val="accent3">
                <a:lumMod val="50000"/>
              </a:schemeClr>
            </a:solidFill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Straight Connector 42"/>
            <p:cNvCxnSpPr/>
            <p:nvPr/>
          </p:nvCxnSpPr>
          <p:spPr bwMode="gray">
            <a:xfrm>
              <a:off x="1066176" y="2640643"/>
              <a:ext cx="0" cy="106601"/>
            </a:xfrm>
            <a:prstGeom prst="line">
              <a:avLst/>
            </a:prstGeom>
            <a:solidFill>
              <a:schemeClr val="accent3">
                <a:lumMod val="50000"/>
              </a:schemeClr>
            </a:solidFill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44"/>
            <p:cNvCxnSpPr/>
            <p:nvPr/>
          </p:nvCxnSpPr>
          <p:spPr bwMode="gray">
            <a:xfrm>
              <a:off x="1206663" y="2640643"/>
              <a:ext cx="0" cy="106601"/>
            </a:xfrm>
            <a:prstGeom prst="line">
              <a:avLst/>
            </a:prstGeom>
            <a:solidFill>
              <a:schemeClr val="accent3">
                <a:lumMod val="50000"/>
              </a:schemeClr>
            </a:solidFill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45"/>
            <p:cNvCxnSpPr/>
            <p:nvPr/>
          </p:nvCxnSpPr>
          <p:spPr bwMode="gray">
            <a:xfrm>
              <a:off x="984005" y="2749250"/>
              <a:ext cx="298889" cy="0"/>
            </a:xfrm>
            <a:prstGeom prst="line">
              <a:avLst/>
            </a:prstGeom>
            <a:solidFill>
              <a:schemeClr val="accent3">
                <a:lumMod val="50000"/>
              </a:schemeClr>
            </a:solidFill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47"/>
            <p:cNvCxnSpPr/>
            <p:nvPr/>
          </p:nvCxnSpPr>
          <p:spPr bwMode="gray">
            <a:xfrm>
              <a:off x="986386" y="2746117"/>
              <a:ext cx="0" cy="36467"/>
            </a:xfrm>
            <a:prstGeom prst="line">
              <a:avLst/>
            </a:prstGeom>
            <a:solidFill>
              <a:schemeClr val="accent3">
                <a:lumMod val="50000"/>
              </a:schemeClr>
            </a:solidFill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62"/>
            <p:cNvCxnSpPr/>
            <p:nvPr/>
          </p:nvCxnSpPr>
          <p:spPr bwMode="gray">
            <a:xfrm>
              <a:off x="1126873" y="2750472"/>
              <a:ext cx="0" cy="36467"/>
            </a:xfrm>
            <a:prstGeom prst="line">
              <a:avLst/>
            </a:prstGeom>
            <a:solidFill>
              <a:schemeClr val="accent3">
                <a:lumMod val="50000"/>
              </a:schemeClr>
            </a:solidFill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63"/>
            <p:cNvCxnSpPr/>
            <p:nvPr/>
          </p:nvCxnSpPr>
          <p:spPr bwMode="gray">
            <a:xfrm>
              <a:off x="1279811" y="2745813"/>
              <a:ext cx="0" cy="36467"/>
            </a:xfrm>
            <a:prstGeom prst="line">
              <a:avLst/>
            </a:prstGeom>
            <a:solidFill>
              <a:schemeClr val="accent3">
                <a:lumMod val="50000"/>
              </a:schemeClr>
            </a:solidFill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4" name="Rounded Rectangle 64"/>
            <p:cNvSpPr/>
            <p:nvPr/>
          </p:nvSpPr>
          <p:spPr bwMode="gray">
            <a:xfrm>
              <a:off x="1077396" y="2555047"/>
              <a:ext cx="120222" cy="39987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>
                <a:solidFill>
                  <a:srgbClr val="FFFFFF"/>
                </a:solidFill>
              </a:endParaRPr>
            </a:p>
          </p:txBody>
        </p:sp>
        <p:sp>
          <p:nvSpPr>
            <p:cNvPr id="165" name="TextBox 65"/>
            <p:cNvSpPr txBox="1"/>
            <p:nvPr/>
          </p:nvSpPr>
          <p:spPr bwMode="gray">
            <a:xfrm>
              <a:off x="425222" y="2258168"/>
              <a:ext cx="945396" cy="19077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900">
                  <a:solidFill>
                    <a:srgbClr val="FFFFFF"/>
                  </a:solidFill>
                  <a:latin typeface="Arial"/>
                  <a:cs typeface="Arial"/>
                </a:rPr>
                <a:t>One Concept</a:t>
              </a:r>
            </a:p>
          </p:txBody>
        </p:sp>
        <p:grpSp>
          <p:nvGrpSpPr>
            <p:cNvPr id="166" name="Group 76"/>
            <p:cNvGrpSpPr/>
            <p:nvPr/>
          </p:nvGrpSpPr>
          <p:grpSpPr bwMode="gray">
            <a:xfrm>
              <a:off x="520472" y="2533145"/>
              <a:ext cx="330346" cy="43406"/>
              <a:chOff x="956348" y="2121713"/>
              <a:chExt cx="330346" cy="43406"/>
            </a:xfrm>
          </p:grpSpPr>
          <p:cxnSp>
            <p:nvCxnSpPr>
              <p:cNvPr id="177" name="Straight Connector 87"/>
              <p:cNvCxnSpPr/>
              <p:nvPr/>
            </p:nvCxnSpPr>
            <p:spPr bwMode="gray">
              <a:xfrm>
                <a:off x="956348" y="2121713"/>
                <a:ext cx="330346" cy="0"/>
              </a:xfrm>
              <a:prstGeom prst="line">
                <a:avLst/>
              </a:prstGeom>
              <a:solidFill>
                <a:schemeClr val="bg1"/>
              </a:solidFill>
              <a:ln w="12700" cmpd="sng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88"/>
              <p:cNvCxnSpPr/>
              <p:nvPr/>
            </p:nvCxnSpPr>
            <p:spPr bwMode="gray">
              <a:xfrm>
                <a:off x="956348" y="2165119"/>
                <a:ext cx="330346" cy="0"/>
              </a:xfrm>
              <a:prstGeom prst="line">
                <a:avLst/>
              </a:prstGeom>
              <a:solidFill>
                <a:schemeClr val="bg1"/>
              </a:solidFill>
              <a:ln w="12700" cmpd="sng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7" name="Group 77"/>
            <p:cNvGrpSpPr/>
            <p:nvPr/>
          </p:nvGrpSpPr>
          <p:grpSpPr bwMode="gray">
            <a:xfrm>
              <a:off x="520472" y="2663792"/>
              <a:ext cx="331356" cy="196277"/>
              <a:chOff x="956348" y="2252360"/>
              <a:chExt cx="331356" cy="196277"/>
            </a:xfrm>
          </p:grpSpPr>
          <p:cxnSp>
            <p:nvCxnSpPr>
              <p:cNvPr id="171" name="Straight Connector 81"/>
              <p:cNvCxnSpPr/>
              <p:nvPr/>
            </p:nvCxnSpPr>
            <p:spPr bwMode="gray">
              <a:xfrm>
                <a:off x="956348" y="2252360"/>
                <a:ext cx="330346" cy="0"/>
              </a:xfrm>
              <a:prstGeom prst="line">
                <a:avLst/>
              </a:prstGeom>
              <a:solidFill>
                <a:schemeClr val="bg1"/>
              </a:solidFill>
              <a:ln w="12700" cmpd="sng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82"/>
              <p:cNvCxnSpPr/>
              <p:nvPr/>
            </p:nvCxnSpPr>
            <p:spPr bwMode="gray">
              <a:xfrm>
                <a:off x="956348" y="2291615"/>
                <a:ext cx="330346" cy="0"/>
              </a:xfrm>
              <a:prstGeom prst="line">
                <a:avLst/>
              </a:prstGeom>
              <a:solidFill>
                <a:schemeClr val="bg1"/>
              </a:solidFill>
              <a:ln w="12700" cmpd="sng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83"/>
              <p:cNvCxnSpPr/>
              <p:nvPr/>
            </p:nvCxnSpPr>
            <p:spPr bwMode="gray">
              <a:xfrm>
                <a:off x="956348" y="2330870"/>
                <a:ext cx="330346" cy="0"/>
              </a:xfrm>
              <a:prstGeom prst="line">
                <a:avLst/>
              </a:prstGeom>
              <a:solidFill>
                <a:schemeClr val="bg1"/>
              </a:solidFill>
              <a:ln w="12700" cmpd="sng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84"/>
              <p:cNvCxnSpPr/>
              <p:nvPr/>
            </p:nvCxnSpPr>
            <p:spPr bwMode="gray">
              <a:xfrm>
                <a:off x="956348" y="2370125"/>
                <a:ext cx="330346" cy="0"/>
              </a:xfrm>
              <a:prstGeom prst="line">
                <a:avLst/>
              </a:prstGeom>
              <a:solidFill>
                <a:schemeClr val="bg1"/>
              </a:solidFill>
              <a:ln w="12700" cmpd="sng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85"/>
              <p:cNvCxnSpPr/>
              <p:nvPr/>
            </p:nvCxnSpPr>
            <p:spPr bwMode="gray">
              <a:xfrm>
                <a:off x="956348" y="2409380"/>
                <a:ext cx="330346" cy="0"/>
              </a:xfrm>
              <a:prstGeom prst="line">
                <a:avLst/>
              </a:prstGeom>
              <a:solidFill>
                <a:schemeClr val="bg1"/>
              </a:solidFill>
              <a:ln w="12700" cmpd="sng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86"/>
              <p:cNvCxnSpPr/>
              <p:nvPr/>
            </p:nvCxnSpPr>
            <p:spPr bwMode="gray">
              <a:xfrm>
                <a:off x="957358" y="2448637"/>
                <a:ext cx="330346" cy="0"/>
              </a:xfrm>
              <a:prstGeom prst="line">
                <a:avLst/>
              </a:prstGeom>
              <a:solidFill>
                <a:schemeClr val="bg1"/>
              </a:solidFill>
              <a:ln w="12700" cmpd="sng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8" name="Group 78"/>
            <p:cNvGrpSpPr/>
            <p:nvPr/>
          </p:nvGrpSpPr>
          <p:grpSpPr bwMode="gray">
            <a:xfrm>
              <a:off x="1006651" y="2673688"/>
              <a:ext cx="263131" cy="39987"/>
              <a:chOff x="1426999" y="2164507"/>
              <a:chExt cx="322077" cy="39987"/>
            </a:xfrm>
            <a:solidFill>
              <a:schemeClr val="bg1"/>
            </a:solidFill>
          </p:grpSpPr>
          <p:sp>
            <p:nvSpPr>
              <p:cNvPr id="169" name="Rounded Rectangle 79"/>
              <p:cNvSpPr/>
              <p:nvPr/>
            </p:nvSpPr>
            <p:spPr bwMode="gray">
              <a:xfrm>
                <a:off x="1426999" y="2164507"/>
                <a:ext cx="147154" cy="39987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400">
                  <a:solidFill>
                    <a:srgbClr val="FFFFFF"/>
                  </a:solidFill>
                </a:endParaRPr>
              </a:p>
            </p:txBody>
          </p:sp>
          <p:sp>
            <p:nvSpPr>
              <p:cNvPr id="170" name="Rounded Rectangle 80"/>
              <p:cNvSpPr/>
              <p:nvPr/>
            </p:nvSpPr>
            <p:spPr bwMode="gray">
              <a:xfrm>
                <a:off x="1601922" y="2164507"/>
                <a:ext cx="147154" cy="39987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400">
                  <a:solidFill>
                    <a:srgbClr val="FFFFFF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23253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aso de ex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Conector recto 10"/>
          <p:cNvCxnSpPr/>
          <p:nvPr userDrawn="1"/>
        </p:nvCxnSpPr>
        <p:spPr>
          <a:xfrm>
            <a:off x="675918" y="5677790"/>
            <a:ext cx="1082338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arcador de contenido 11"/>
          <p:cNvSpPr>
            <a:spLocks noGrp="1"/>
          </p:cNvSpPr>
          <p:nvPr>
            <p:ph sz="quarter" idx="12" hasCustomPrompt="1"/>
          </p:nvPr>
        </p:nvSpPr>
        <p:spPr>
          <a:xfrm>
            <a:off x="675918" y="5788518"/>
            <a:ext cx="10823380" cy="7461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el texto del </a:t>
            </a:r>
            <a:r>
              <a:rPr lang="es-ES" err="1"/>
              <a:t>kicker</a:t>
            </a:r>
            <a:r>
              <a:rPr lang="es-ES"/>
              <a:t> (Texto en Arial 18 pts., color negro)</a:t>
            </a:r>
          </a:p>
        </p:txBody>
      </p:sp>
      <p:sp>
        <p:nvSpPr>
          <p:cNvPr id="13" name="Marcador de texto 21"/>
          <p:cNvSpPr>
            <a:spLocks noGrp="1"/>
          </p:cNvSpPr>
          <p:nvPr>
            <p:ph type="body" sz="quarter" idx="14" hasCustomPrompt="1"/>
          </p:nvPr>
        </p:nvSpPr>
        <p:spPr>
          <a:xfrm>
            <a:off x="2023810" y="2311442"/>
            <a:ext cx="7639564" cy="2681156"/>
          </a:xfrm>
          <a:prstGeom prst="rect">
            <a:avLst/>
          </a:prstGeom>
        </p:spPr>
        <p:txBody>
          <a:bodyPr/>
          <a:lstStyle>
            <a:lvl1pPr>
              <a:defRPr lang="es-ES" sz="1400" kern="1200" baseline="0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66725" indent="-180000">
              <a:buFont typeface="Arial" panose="020B0604020202020204" pitchFamily="34" charset="0"/>
              <a:buChar char="−"/>
              <a:defRPr/>
            </a:lvl2pPr>
            <a:lvl3pPr marL="647700" indent="-180000">
              <a:buFont typeface="Arial" panose="020B0604020202020204" pitchFamily="34" charset="0"/>
              <a:buChar char="−"/>
              <a:defRPr/>
            </a:lvl3pPr>
          </a:lstStyle>
          <a:p>
            <a:pPr lvl="0"/>
            <a:r>
              <a:rPr lang="es-ES"/>
              <a:t>Haga clic para modificar el texto del patrón</a:t>
            </a:r>
          </a:p>
          <a:p>
            <a:pPr lvl="1"/>
            <a:r>
              <a:rPr lang="es-ES"/>
              <a:t>Segundo nivel de texto</a:t>
            </a:r>
          </a:p>
          <a:p>
            <a:pPr lvl="2"/>
            <a:r>
              <a:rPr lang="es-ES"/>
              <a:t>Tercer nivel de texto</a:t>
            </a:r>
          </a:p>
        </p:txBody>
      </p:sp>
      <p:sp>
        <p:nvSpPr>
          <p:cNvPr id="14" name="Marcador de texto 8"/>
          <p:cNvSpPr>
            <a:spLocks noGrp="1"/>
          </p:cNvSpPr>
          <p:nvPr>
            <p:ph type="body" sz="quarter" idx="13" hasCustomPrompt="1"/>
          </p:nvPr>
        </p:nvSpPr>
        <p:spPr>
          <a:xfrm>
            <a:off x="774932" y="1162651"/>
            <a:ext cx="10810279" cy="31803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s-ES_tradnl" sz="1600" dirty="0" smtClean="0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r>
              <a:rPr lang="es-ES"/>
              <a:t> Introducir subtitulo (Arial 16 pts.)</a:t>
            </a:r>
          </a:p>
        </p:txBody>
      </p:sp>
      <p:sp>
        <p:nvSpPr>
          <p:cNvPr id="15" name="Título 9"/>
          <p:cNvSpPr>
            <a:spLocks noGrp="1"/>
          </p:cNvSpPr>
          <p:nvPr>
            <p:ph type="title" hasCustomPrompt="1"/>
          </p:nvPr>
        </p:nvSpPr>
        <p:spPr>
          <a:xfrm>
            <a:off x="774932" y="509175"/>
            <a:ext cx="10813714" cy="637198"/>
          </a:xfrm>
          <a:prstGeom prst="rect">
            <a:avLst/>
          </a:prstGeom>
        </p:spPr>
        <p:txBody>
          <a:bodyPr lIns="0" anchor="b"/>
          <a:lstStyle>
            <a:lvl1pPr>
              <a:defRPr baseline="0"/>
            </a:lvl1pPr>
          </a:lstStyle>
          <a:p>
            <a:r>
              <a:rPr lang="es-ES"/>
              <a:t>Introducir título o hilo argumental (Arial 22 </a:t>
            </a:r>
            <a:r>
              <a:rPr lang="es-ES" err="1"/>
              <a:t>ptos</a:t>
            </a:r>
            <a:r>
              <a:rPr lang="es-ES"/>
              <a:t>, negrita)</a:t>
            </a:r>
          </a:p>
        </p:txBody>
      </p:sp>
    </p:spTree>
    <p:extLst>
      <p:ext uri="{BB962C8B-B14F-4D97-AF65-F5344CB8AC3E}">
        <p14:creationId xmlns:p14="http://schemas.microsoft.com/office/powerpoint/2010/main" val="875132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600201"/>
            <a:ext cx="5383398" cy="4525963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986" y="1600201"/>
            <a:ext cx="5383398" cy="4525963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3AA9B9-B780-4194-954C-A7535CD4C989}" type="datetime1">
              <a:rPr lang="en-US" smtClean="0"/>
              <a:t>7/3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31865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 2 firm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ángulo 38"/>
          <p:cNvSpPr/>
          <p:nvPr userDrawn="1"/>
        </p:nvSpPr>
        <p:spPr>
          <a:xfrm>
            <a:off x="0" y="-33802"/>
            <a:ext cx="12188825" cy="68960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6618" y="3176638"/>
            <a:ext cx="331610" cy="269934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EABF5ADB-D8F5-A543-AB32-2443EAE545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659" t="8430" b="2992"/>
          <a:stretch/>
        </p:blipFill>
        <p:spPr>
          <a:xfrm>
            <a:off x="0" y="0"/>
            <a:ext cx="5325579" cy="6862248"/>
          </a:xfrm>
          <a:prstGeom prst="rect">
            <a:avLst/>
          </a:prstGeom>
        </p:spPr>
      </p:pic>
      <p:grpSp>
        <p:nvGrpSpPr>
          <p:cNvPr id="16" name="Grupo 15">
            <a:extLst>
              <a:ext uri="{FF2B5EF4-FFF2-40B4-BE49-F238E27FC236}">
                <a16:creationId xmlns:a16="http://schemas.microsoft.com/office/drawing/2014/main" id="{C5CE9686-A95F-B747-BC46-697BCB7E40BD}"/>
              </a:ext>
            </a:extLst>
          </p:cNvPr>
          <p:cNvGrpSpPr/>
          <p:nvPr userDrawn="1"/>
        </p:nvGrpSpPr>
        <p:grpSpPr>
          <a:xfrm>
            <a:off x="4709441" y="6070220"/>
            <a:ext cx="7479385" cy="472563"/>
            <a:chOff x="-22227" y="5534642"/>
            <a:chExt cx="9928227" cy="472563"/>
          </a:xfrm>
        </p:grpSpPr>
        <p:sp>
          <p:nvSpPr>
            <p:cNvPr id="17" name="CuadroTexto 192">
              <a:extLst>
                <a:ext uri="{FF2B5EF4-FFF2-40B4-BE49-F238E27FC236}">
                  <a16:creationId xmlns:a16="http://schemas.microsoft.com/office/drawing/2014/main" id="{2874778B-9151-814E-8890-0B059972303E}"/>
                </a:ext>
              </a:extLst>
            </p:cNvPr>
            <p:cNvSpPr txBox="1"/>
            <p:nvPr/>
          </p:nvSpPr>
          <p:spPr>
            <a:xfrm>
              <a:off x="0" y="5534642"/>
              <a:ext cx="990599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sz="1200" b="1">
                  <a:solidFill>
                    <a:schemeClr val="accent6">
                      <a:lumMod val="75000"/>
                    </a:schemeClr>
                  </a:solidFill>
                  <a:latin typeface="Arial"/>
                  <a:cs typeface="Arial"/>
                </a:rPr>
                <a:t>Over 70 offices worldwide</a:t>
              </a:r>
            </a:p>
          </p:txBody>
        </p:sp>
        <p:sp>
          <p:nvSpPr>
            <p:cNvPr id="19" name="CuadroTexto 192">
              <a:extLst>
                <a:ext uri="{FF2B5EF4-FFF2-40B4-BE49-F238E27FC236}">
                  <a16:creationId xmlns:a16="http://schemas.microsoft.com/office/drawing/2014/main" id="{831CC1B4-F619-FC41-822A-281D9B7CC875}"/>
                </a:ext>
              </a:extLst>
            </p:cNvPr>
            <p:cNvSpPr txBox="1"/>
            <p:nvPr/>
          </p:nvSpPr>
          <p:spPr>
            <a:xfrm>
              <a:off x="-22227" y="5760984"/>
              <a:ext cx="992822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s-ES" sz="1000" b="1">
                  <a:solidFill>
                    <a:schemeClr val="accent6">
                      <a:lumMod val="75000"/>
                    </a:schemeClr>
                  </a:solidFill>
                  <a:latin typeface="Arial"/>
                  <a:cs typeface="Arial"/>
                </a:rPr>
                <a:t>www.alfaconsulting.com</a:t>
              </a:r>
            </a:p>
          </p:txBody>
        </p:sp>
      </p:grpSp>
      <p:sp>
        <p:nvSpPr>
          <p:cNvPr id="15" name="Marcador de texto 13"/>
          <p:cNvSpPr>
            <a:spLocks noGrp="1"/>
          </p:cNvSpPr>
          <p:nvPr>
            <p:ph type="body" sz="quarter" idx="12" hasCustomPrompt="1"/>
          </p:nvPr>
        </p:nvSpPr>
        <p:spPr>
          <a:xfrm>
            <a:off x="5749810" y="2547513"/>
            <a:ext cx="6166234" cy="26615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b="1" baseline="0">
                <a:solidFill>
                  <a:schemeClr val="accent4">
                    <a:lumMod val="2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"/>
              <a:t>Nombre: Cargo</a:t>
            </a:r>
          </a:p>
        </p:txBody>
      </p:sp>
      <p:sp>
        <p:nvSpPr>
          <p:cNvPr id="22" name="Marcador de texto 13"/>
          <p:cNvSpPr>
            <a:spLocks noGrp="1"/>
          </p:cNvSpPr>
          <p:nvPr>
            <p:ph type="body" sz="quarter" idx="13" hasCustomPrompt="1"/>
          </p:nvPr>
        </p:nvSpPr>
        <p:spPr>
          <a:xfrm>
            <a:off x="5744858" y="2868713"/>
            <a:ext cx="6166234" cy="19040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sz="1200" b="0" baseline="0">
                <a:solidFill>
                  <a:schemeClr val="accent6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_tradnl"/>
              <a:t>xxx@alfaconsulting.com</a:t>
            </a:r>
            <a:endParaRPr lang="es-ES"/>
          </a:p>
        </p:txBody>
      </p:sp>
      <p:sp>
        <p:nvSpPr>
          <p:cNvPr id="24" name="Marcador de texto 13"/>
          <p:cNvSpPr>
            <a:spLocks noGrp="1"/>
          </p:cNvSpPr>
          <p:nvPr>
            <p:ph type="body" sz="quarter" idx="14" hasCustomPrompt="1"/>
          </p:nvPr>
        </p:nvSpPr>
        <p:spPr>
          <a:xfrm>
            <a:off x="5749810" y="3160960"/>
            <a:ext cx="6166234" cy="19040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sz="1200" b="0" baseline="0">
                <a:solidFill>
                  <a:schemeClr val="accent6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_tradnl"/>
              <a:t>M: +34 xxx </a:t>
            </a:r>
            <a:r>
              <a:rPr lang="es-ES_tradnl" err="1"/>
              <a:t>xxx</a:t>
            </a:r>
            <a:r>
              <a:rPr lang="es-ES_tradnl"/>
              <a:t> </a:t>
            </a:r>
            <a:r>
              <a:rPr lang="es-ES_tradnl" err="1"/>
              <a:t>xxx</a:t>
            </a:r>
            <a:endParaRPr lang="es-ES_tradnl"/>
          </a:p>
        </p:txBody>
      </p:sp>
      <p:sp>
        <p:nvSpPr>
          <p:cNvPr id="25" name="Marcador de texto 13"/>
          <p:cNvSpPr>
            <a:spLocks noGrp="1"/>
          </p:cNvSpPr>
          <p:nvPr>
            <p:ph type="body" sz="quarter" idx="15" hasCustomPrompt="1"/>
          </p:nvPr>
        </p:nvSpPr>
        <p:spPr>
          <a:xfrm>
            <a:off x="5748227" y="3366879"/>
            <a:ext cx="6166234" cy="19040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sz="1200" b="0" baseline="0">
                <a:solidFill>
                  <a:schemeClr val="accent6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_tradnl"/>
              <a:t>M: +34 xxx </a:t>
            </a:r>
            <a:r>
              <a:rPr lang="es-ES_tradnl" err="1"/>
              <a:t>xxx</a:t>
            </a:r>
            <a:r>
              <a:rPr lang="es-ES_tradnl"/>
              <a:t> </a:t>
            </a:r>
            <a:r>
              <a:rPr lang="es-ES_tradnl" err="1"/>
              <a:t>xxx</a:t>
            </a:r>
            <a:endParaRPr lang="es-ES_tradnl"/>
          </a:p>
        </p:txBody>
      </p:sp>
      <p:pic>
        <p:nvPicPr>
          <p:cNvPr id="23" name="Imagen 22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1680" y="1909311"/>
            <a:ext cx="331610" cy="269934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Marcador de texto 13"/>
          <p:cNvSpPr>
            <a:spLocks noGrp="1"/>
          </p:cNvSpPr>
          <p:nvPr>
            <p:ph type="body" sz="quarter" idx="16" hasCustomPrompt="1"/>
          </p:nvPr>
        </p:nvSpPr>
        <p:spPr>
          <a:xfrm>
            <a:off x="5740698" y="1280186"/>
            <a:ext cx="6166234" cy="26615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b="1" baseline="0">
                <a:solidFill>
                  <a:schemeClr val="accent4">
                    <a:lumMod val="2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"/>
              <a:t>Nombre: Cargo</a:t>
            </a:r>
          </a:p>
        </p:txBody>
      </p:sp>
      <p:sp>
        <p:nvSpPr>
          <p:cNvPr id="27" name="Marcador de texto 13"/>
          <p:cNvSpPr>
            <a:spLocks noGrp="1"/>
          </p:cNvSpPr>
          <p:nvPr>
            <p:ph type="body" sz="quarter" idx="17" hasCustomPrompt="1"/>
          </p:nvPr>
        </p:nvSpPr>
        <p:spPr>
          <a:xfrm>
            <a:off x="5739920" y="1601386"/>
            <a:ext cx="6166234" cy="19040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sz="1200" b="0" baseline="0">
                <a:solidFill>
                  <a:schemeClr val="accent6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_tradnl"/>
              <a:t>xxx@alfaconsulting.com</a:t>
            </a:r>
            <a:endParaRPr lang="es-ES"/>
          </a:p>
        </p:txBody>
      </p:sp>
      <p:sp>
        <p:nvSpPr>
          <p:cNvPr id="28" name="Marcador de texto 13"/>
          <p:cNvSpPr>
            <a:spLocks noGrp="1"/>
          </p:cNvSpPr>
          <p:nvPr>
            <p:ph type="body" sz="quarter" idx="18" hasCustomPrompt="1"/>
          </p:nvPr>
        </p:nvSpPr>
        <p:spPr>
          <a:xfrm>
            <a:off x="5744873" y="1893633"/>
            <a:ext cx="6166234" cy="19040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sz="1200" b="0" baseline="0">
                <a:solidFill>
                  <a:schemeClr val="accent6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_tradnl"/>
              <a:t>M: +34 xxx </a:t>
            </a:r>
            <a:r>
              <a:rPr lang="es-ES_tradnl" err="1"/>
              <a:t>xxx</a:t>
            </a:r>
            <a:r>
              <a:rPr lang="es-ES_tradnl"/>
              <a:t> </a:t>
            </a:r>
            <a:r>
              <a:rPr lang="es-ES_tradnl" err="1"/>
              <a:t>xxx</a:t>
            </a:r>
            <a:endParaRPr lang="es-ES_tradnl"/>
          </a:p>
        </p:txBody>
      </p:sp>
      <p:sp>
        <p:nvSpPr>
          <p:cNvPr id="29" name="Marcador de texto 13"/>
          <p:cNvSpPr>
            <a:spLocks noGrp="1"/>
          </p:cNvSpPr>
          <p:nvPr>
            <p:ph type="body" sz="quarter" idx="19" hasCustomPrompt="1"/>
          </p:nvPr>
        </p:nvSpPr>
        <p:spPr>
          <a:xfrm>
            <a:off x="5743289" y="2099552"/>
            <a:ext cx="6166234" cy="19040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sz="1200" b="0" baseline="0">
                <a:solidFill>
                  <a:schemeClr val="accent6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_tradnl"/>
              <a:t>M: +34 xxx </a:t>
            </a:r>
            <a:r>
              <a:rPr lang="es-ES_tradnl" err="1"/>
              <a:t>xxx</a:t>
            </a:r>
            <a:r>
              <a:rPr lang="es-ES_tradnl"/>
              <a:t> </a:t>
            </a:r>
            <a:r>
              <a:rPr lang="es-ES_tradnl" err="1"/>
              <a:t>xxx</a:t>
            </a:r>
            <a:endParaRPr lang="es-ES_tradnl"/>
          </a:p>
        </p:txBody>
      </p:sp>
      <p:grpSp>
        <p:nvGrpSpPr>
          <p:cNvPr id="33" name="Grupo 32"/>
          <p:cNvGrpSpPr/>
          <p:nvPr userDrawn="1"/>
        </p:nvGrpSpPr>
        <p:grpSpPr>
          <a:xfrm>
            <a:off x="5375475" y="1639386"/>
            <a:ext cx="344038" cy="181256"/>
            <a:chOff x="4195192" y="4336879"/>
            <a:chExt cx="281127" cy="182243"/>
          </a:xfrm>
        </p:grpSpPr>
        <p:sp>
          <p:nvSpPr>
            <p:cNvPr id="34" name="Rectángulo 33">
              <a:hlinkClick r:id="rId4"/>
            </p:cNvPr>
            <p:cNvSpPr/>
            <p:nvPr/>
          </p:nvSpPr>
          <p:spPr>
            <a:xfrm>
              <a:off x="4195192" y="4337866"/>
              <a:ext cx="281127" cy="181256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35" name="Triángulo isósceles 34"/>
            <p:cNvSpPr/>
            <p:nvPr/>
          </p:nvSpPr>
          <p:spPr>
            <a:xfrm rot="10800000">
              <a:off x="4209035" y="4336879"/>
              <a:ext cx="252850" cy="126410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</p:grpSp>
      <p:grpSp>
        <p:nvGrpSpPr>
          <p:cNvPr id="36" name="Grupo 35"/>
          <p:cNvGrpSpPr/>
          <p:nvPr userDrawn="1"/>
        </p:nvGrpSpPr>
        <p:grpSpPr>
          <a:xfrm>
            <a:off x="5375475" y="2904525"/>
            <a:ext cx="344038" cy="181256"/>
            <a:chOff x="4195192" y="4336879"/>
            <a:chExt cx="281127" cy="182243"/>
          </a:xfrm>
        </p:grpSpPr>
        <p:sp>
          <p:nvSpPr>
            <p:cNvPr id="37" name="Rectángulo 36">
              <a:hlinkClick r:id="rId4"/>
            </p:cNvPr>
            <p:cNvSpPr/>
            <p:nvPr/>
          </p:nvSpPr>
          <p:spPr>
            <a:xfrm>
              <a:off x="4195192" y="4337866"/>
              <a:ext cx="281127" cy="181256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38" name="Triángulo isósceles 37"/>
            <p:cNvSpPr/>
            <p:nvPr/>
          </p:nvSpPr>
          <p:spPr>
            <a:xfrm rot="10800000">
              <a:off x="4209035" y="4336879"/>
              <a:ext cx="252850" cy="126410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</p:grpSp>
      <p:pic>
        <p:nvPicPr>
          <p:cNvPr id="30" name="Imagen 29">
            <a:extLst>
              <a:ext uri="{FF2B5EF4-FFF2-40B4-BE49-F238E27FC236}">
                <a16:creationId xmlns:a16="http://schemas.microsoft.com/office/drawing/2014/main" id="{E1E6529C-2313-48A2-B816-0461C2A4CE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6618" y="4437754"/>
            <a:ext cx="331610" cy="269934"/>
          </a:xfrm>
          <a:prstGeom prst="rect">
            <a:avLst/>
          </a:prstGeom>
          <a:noFill/>
          <a:ln>
            <a:noFill/>
          </a:ln>
        </p:spPr>
      </p:pic>
      <p:sp>
        <p:nvSpPr>
          <p:cNvPr id="31" name="Marcador de texto 13">
            <a:extLst>
              <a:ext uri="{FF2B5EF4-FFF2-40B4-BE49-F238E27FC236}">
                <a16:creationId xmlns:a16="http://schemas.microsoft.com/office/drawing/2014/main" id="{90502E91-BCCD-4314-8422-5289CAEA01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49810" y="3808629"/>
            <a:ext cx="6166234" cy="26615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b="1" baseline="0">
                <a:solidFill>
                  <a:schemeClr val="accent4">
                    <a:lumMod val="2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"/>
              <a:t>Nombre: Cargo</a:t>
            </a:r>
          </a:p>
        </p:txBody>
      </p:sp>
      <p:sp>
        <p:nvSpPr>
          <p:cNvPr id="32" name="Marcador de texto 13">
            <a:extLst>
              <a:ext uri="{FF2B5EF4-FFF2-40B4-BE49-F238E27FC236}">
                <a16:creationId xmlns:a16="http://schemas.microsoft.com/office/drawing/2014/main" id="{05E41BAC-7C86-4924-8317-52D2105AD97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744858" y="4129829"/>
            <a:ext cx="6166234" cy="19040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sz="1200" b="0" baseline="0">
                <a:solidFill>
                  <a:schemeClr val="accent6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_tradnl"/>
              <a:t>xxx@alfaconsulting.com</a:t>
            </a:r>
            <a:endParaRPr lang="es-ES"/>
          </a:p>
        </p:txBody>
      </p:sp>
      <p:sp>
        <p:nvSpPr>
          <p:cNvPr id="40" name="Marcador de texto 13">
            <a:extLst>
              <a:ext uri="{FF2B5EF4-FFF2-40B4-BE49-F238E27FC236}">
                <a16:creationId xmlns:a16="http://schemas.microsoft.com/office/drawing/2014/main" id="{5994419F-5E99-48D6-AF9B-FAFC8A137BB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749810" y="4422076"/>
            <a:ext cx="6166234" cy="19040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sz="1200" b="0" baseline="0">
                <a:solidFill>
                  <a:schemeClr val="accent6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_tradnl"/>
              <a:t>M: +34 xxx </a:t>
            </a:r>
            <a:r>
              <a:rPr lang="es-ES_tradnl" err="1"/>
              <a:t>xxx</a:t>
            </a:r>
            <a:r>
              <a:rPr lang="es-ES_tradnl"/>
              <a:t> </a:t>
            </a:r>
            <a:r>
              <a:rPr lang="es-ES_tradnl" err="1"/>
              <a:t>xxx</a:t>
            </a:r>
            <a:endParaRPr lang="es-ES_tradnl"/>
          </a:p>
        </p:txBody>
      </p:sp>
      <p:sp>
        <p:nvSpPr>
          <p:cNvPr id="41" name="Marcador de texto 13">
            <a:extLst>
              <a:ext uri="{FF2B5EF4-FFF2-40B4-BE49-F238E27FC236}">
                <a16:creationId xmlns:a16="http://schemas.microsoft.com/office/drawing/2014/main" id="{6EEC306C-E0B3-4844-8241-7DC1C1D0858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748227" y="4627995"/>
            <a:ext cx="6166234" cy="19040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 sz="1200" b="0" baseline="0">
                <a:solidFill>
                  <a:schemeClr val="accent6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bg1"/>
              </a:buClr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/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 baseline="0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s-ES_tradnl"/>
              <a:t>M: +34 xxx </a:t>
            </a:r>
            <a:r>
              <a:rPr lang="es-ES_tradnl" err="1"/>
              <a:t>xxx</a:t>
            </a:r>
            <a:r>
              <a:rPr lang="es-ES_tradnl"/>
              <a:t> </a:t>
            </a:r>
            <a:r>
              <a:rPr lang="es-ES_tradnl" err="1"/>
              <a:t>xxx</a:t>
            </a:r>
            <a:endParaRPr lang="es-ES_tradnl"/>
          </a:p>
        </p:txBody>
      </p:sp>
      <p:grpSp>
        <p:nvGrpSpPr>
          <p:cNvPr id="42" name="Grupo 41">
            <a:extLst>
              <a:ext uri="{FF2B5EF4-FFF2-40B4-BE49-F238E27FC236}">
                <a16:creationId xmlns:a16="http://schemas.microsoft.com/office/drawing/2014/main" id="{157AC18C-5842-4A45-BEC0-3C50447FA0D5}"/>
              </a:ext>
            </a:extLst>
          </p:cNvPr>
          <p:cNvGrpSpPr/>
          <p:nvPr userDrawn="1"/>
        </p:nvGrpSpPr>
        <p:grpSpPr>
          <a:xfrm>
            <a:off x="5375475" y="4165641"/>
            <a:ext cx="344038" cy="181256"/>
            <a:chOff x="4195192" y="4336879"/>
            <a:chExt cx="281127" cy="182243"/>
          </a:xfrm>
        </p:grpSpPr>
        <p:sp>
          <p:nvSpPr>
            <p:cNvPr id="43" name="Rectángulo 42">
              <a:hlinkClick r:id="rId4"/>
              <a:extLst>
                <a:ext uri="{FF2B5EF4-FFF2-40B4-BE49-F238E27FC236}">
                  <a16:creationId xmlns:a16="http://schemas.microsoft.com/office/drawing/2014/main" id="{8B7BDADB-B8B3-4A53-BEB3-EBB9355BBF0B}"/>
                </a:ext>
              </a:extLst>
            </p:cNvPr>
            <p:cNvSpPr/>
            <p:nvPr/>
          </p:nvSpPr>
          <p:spPr>
            <a:xfrm>
              <a:off x="4195192" y="4337866"/>
              <a:ext cx="281127" cy="181256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44" name="Triángulo isósceles 43">
              <a:extLst>
                <a:ext uri="{FF2B5EF4-FFF2-40B4-BE49-F238E27FC236}">
                  <a16:creationId xmlns:a16="http://schemas.microsoft.com/office/drawing/2014/main" id="{A66DBA19-E08B-4D2C-A365-5B44C5122F40}"/>
                </a:ext>
              </a:extLst>
            </p:cNvPr>
            <p:cNvSpPr/>
            <p:nvPr/>
          </p:nvSpPr>
          <p:spPr>
            <a:xfrm rot="10800000">
              <a:off x="4209035" y="4336879"/>
              <a:ext cx="252850" cy="126410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</p:grpSp>
    </p:spTree>
    <p:extLst>
      <p:ext uri="{BB962C8B-B14F-4D97-AF65-F5344CB8AC3E}">
        <p14:creationId xmlns:p14="http://schemas.microsoft.com/office/powerpoint/2010/main" val="9840020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660519"/>
            <a:ext cx="3960971" cy="795221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752600"/>
            <a:ext cx="3960971" cy="4191000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807665" y="6248400"/>
            <a:ext cx="379572" cy="365125"/>
          </a:xfrm>
        </p:spPr>
        <p:txBody>
          <a:bodyPr/>
          <a:lstStyle/>
          <a:p>
            <a:fld id="{96E69268-9C8B-4EBF-A9EE-DC5DC2D48DC3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5" name="Freeform 5"/>
          <p:cNvSpPr>
            <a:spLocks noEditPoints="1"/>
          </p:cNvSpPr>
          <p:nvPr userDrawn="1"/>
        </p:nvSpPr>
        <p:spPr bwMode="auto">
          <a:xfrm>
            <a:off x="970906" y="6342065"/>
            <a:ext cx="92075" cy="211138"/>
          </a:xfrm>
          <a:custGeom>
            <a:avLst/>
            <a:gdLst>
              <a:gd name="T0" fmla="*/ 15 w 23"/>
              <a:gd name="T1" fmla="*/ 17 h 51"/>
              <a:gd name="T2" fmla="*/ 15 w 23"/>
              <a:gd name="T3" fmla="*/ 12 h 51"/>
              <a:gd name="T4" fmla="*/ 16 w 23"/>
              <a:gd name="T5" fmla="*/ 11 h 51"/>
              <a:gd name="T6" fmla="*/ 16 w 23"/>
              <a:gd name="T7" fmla="*/ 10 h 51"/>
              <a:gd name="T8" fmla="*/ 17 w 23"/>
              <a:gd name="T9" fmla="*/ 9 h 51"/>
              <a:gd name="T10" fmla="*/ 19 w 23"/>
              <a:gd name="T11" fmla="*/ 9 h 51"/>
              <a:gd name="T12" fmla="*/ 23 w 23"/>
              <a:gd name="T13" fmla="*/ 9 h 51"/>
              <a:gd name="T14" fmla="*/ 23 w 23"/>
              <a:gd name="T15" fmla="*/ 0 h 51"/>
              <a:gd name="T16" fmla="*/ 16 w 23"/>
              <a:gd name="T17" fmla="*/ 0 h 51"/>
              <a:gd name="T18" fmla="*/ 8 w 23"/>
              <a:gd name="T19" fmla="*/ 3 h 51"/>
              <a:gd name="T20" fmla="*/ 5 w 23"/>
              <a:gd name="T21" fmla="*/ 11 h 51"/>
              <a:gd name="T22" fmla="*/ 5 w 23"/>
              <a:gd name="T23" fmla="*/ 17 h 51"/>
              <a:gd name="T24" fmla="*/ 0 w 23"/>
              <a:gd name="T25" fmla="*/ 17 h 51"/>
              <a:gd name="T26" fmla="*/ 0 w 23"/>
              <a:gd name="T27" fmla="*/ 25 h 51"/>
              <a:gd name="T28" fmla="*/ 5 w 23"/>
              <a:gd name="T29" fmla="*/ 25 h 51"/>
              <a:gd name="T30" fmla="*/ 5 w 23"/>
              <a:gd name="T31" fmla="*/ 51 h 51"/>
              <a:gd name="T32" fmla="*/ 15 w 23"/>
              <a:gd name="T33" fmla="*/ 51 h 51"/>
              <a:gd name="T34" fmla="*/ 15 w 23"/>
              <a:gd name="T35" fmla="*/ 25 h 51"/>
              <a:gd name="T36" fmla="*/ 23 w 23"/>
              <a:gd name="T37" fmla="*/ 25 h 51"/>
              <a:gd name="T38" fmla="*/ 23 w 23"/>
              <a:gd name="T39" fmla="*/ 17 h 51"/>
              <a:gd name="T40" fmla="*/ 15 w 23"/>
              <a:gd name="T41" fmla="*/ 17 h 51"/>
              <a:gd name="T42" fmla="*/ 15 w 23"/>
              <a:gd name="T43" fmla="*/ 17 h 51"/>
              <a:gd name="T44" fmla="*/ 15 w 23"/>
              <a:gd name="T45" fmla="*/ 17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3" h="51">
                <a:moveTo>
                  <a:pt x="15" y="17"/>
                </a:moveTo>
                <a:cubicBezTo>
                  <a:pt x="15" y="12"/>
                  <a:pt x="15" y="12"/>
                  <a:pt x="15" y="12"/>
                </a:cubicBezTo>
                <a:cubicBezTo>
                  <a:pt x="15" y="11"/>
                  <a:pt x="16" y="11"/>
                  <a:pt x="16" y="11"/>
                </a:cubicBezTo>
                <a:cubicBezTo>
                  <a:pt x="16" y="10"/>
                  <a:pt x="16" y="10"/>
                  <a:pt x="16" y="10"/>
                </a:cubicBezTo>
                <a:cubicBezTo>
                  <a:pt x="16" y="9"/>
                  <a:pt x="17" y="9"/>
                  <a:pt x="17" y="9"/>
                </a:cubicBezTo>
                <a:cubicBezTo>
                  <a:pt x="18" y="9"/>
                  <a:pt x="18" y="9"/>
                  <a:pt x="19" y="9"/>
                </a:cubicBezTo>
                <a:cubicBezTo>
                  <a:pt x="23" y="9"/>
                  <a:pt x="23" y="9"/>
                  <a:pt x="23" y="9"/>
                </a:cubicBezTo>
                <a:cubicBezTo>
                  <a:pt x="23" y="0"/>
                  <a:pt x="23" y="0"/>
                  <a:pt x="23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2" y="0"/>
                  <a:pt x="9" y="1"/>
                  <a:pt x="8" y="3"/>
                </a:cubicBezTo>
                <a:cubicBezTo>
                  <a:pt x="6" y="5"/>
                  <a:pt x="5" y="7"/>
                  <a:pt x="5" y="11"/>
                </a:cubicBezTo>
                <a:cubicBezTo>
                  <a:pt x="5" y="17"/>
                  <a:pt x="5" y="17"/>
                  <a:pt x="5" y="17"/>
                </a:cubicBezTo>
                <a:cubicBezTo>
                  <a:pt x="0" y="17"/>
                  <a:pt x="0" y="17"/>
                  <a:pt x="0" y="17"/>
                </a:cubicBezTo>
                <a:cubicBezTo>
                  <a:pt x="0" y="25"/>
                  <a:pt x="0" y="25"/>
                  <a:pt x="0" y="25"/>
                </a:cubicBezTo>
                <a:cubicBezTo>
                  <a:pt x="5" y="25"/>
                  <a:pt x="5" y="25"/>
                  <a:pt x="5" y="25"/>
                </a:cubicBezTo>
                <a:cubicBezTo>
                  <a:pt x="5" y="51"/>
                  <a:pt x="5" y="51"/>
                  <a:pt x="5" y="51"/>
                </a:cubicBezTo>
                <a:cubicBezTo>
                  <a:pt x="15" y="51"/>
                  <a:pt x="15" y="51"/>
                  <a:pt x="15" y="51"/>
                </a:cubicBezTo>
                <a:cubicBezTo>
                  <a:pt x="15" y="25"/>
                  <a:pt x="15" y="25"/>
                  <a:pt x="15" y="25"/>
                </a:cubicBezTo>
                <a:cubicBezTo>
                  <a:pt x="23" y="25"/>
                  <a:pt x="23" y="25"/>
                  <a:pt x="23" y="25"/>
                </a:cubicBezTo>
                <a:cubicBezTo>
                  <a:pt x="23" y="17"/>
                  <a:pt x="23" y="17"/>
                  <a:pt x="23" y="17"/>
                </a:cubicBezTo>
                <a:lnTo>
                  <a:pt x="15" y="17"/>
                </a:lnTo>
                <a:close/>
                <a:moveTo>
                  <a:pt x="15" y="17"/>
                </a:moveTo>
                <a:cubicBezTo>
                  <a:pt x="15" y="17"/>
                  <a:pt x="15" y="17"/>
                  <a:pt x="15" y="17"/>
                </a:cubicBezTo>
              </a:path>
            </a:pathLst>
          </a:custGeom>
          <a:solidFill>
            <a:schemeClr val="bg1">
              <a:alpha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239373" y="6342065"/>
            <a:ext cx="217488" cy="211139"/>
            <a:chOff x="2152650" y="4338637"/>
            <a:chExt cx="217488" cy="211139"/>
          </a:xfrm>
          <a:solidFill>
            <a:schemeClr val="bg1">
              <a:alpha val="50000"/>
            </a:schemeClr>
          </a:solidFill>
        </p:grpSpPr>
        <p:sp>
          <p:nvSpPr>
            <p:cNvPr id="17" name="Rectangle 16"/>
            <p:cNvSpPr>
              <a:spLocks noChangeArrowheads="1"/>
            </p:cNvSpPr>
            <p:nvPr userDrawn="1"/>
          </p:nvSpPr>
          <p:spPr bwMode="auto">
            <a:xfrm>
              <a:off x="2157413" y="4405313"/>
              <a:ext cx="44450" cy="1444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" name="Freeform 17"/>
            <p:cNvSpPr>
              <a:spLocks noEditPoints="1"/>
            </p:cNvSpPr>
            <p:nvPr userDrawn="1"/>
          </p:nvSpPr>
          <p:spPr bwMode="auto">
            <a:xfrm>
              <a:off x="2225675" y="4405313"/>
              <a:ext cx="144463" cy="144463"/>
            </a:xfrm>
            <a:custGeom>
              <a:avLst/>
              <a:gdLst>
                <a:gd name="T0" fmla="*/ 32 w 36"/>
                <a:gd name="T1" fmla="*/ 3 h 35"/>
                <a:gd name="T2" fmla="*/ 22 w 36"/>
                <a:gd name="T3" fmla="*/ 0 h 35"/>
                <a:gd name="T4" fmla="*/ 18 w 36"/>
                <a:gd name="T5" fmla="*/ 0 h 35"/>
                <a:gd name="T6" fmla="*/ 15 w 36"/>
                <a:gd name="T7" fmla="*/ 2 h 35"/>
                <a:gd name="T8" fmla="*/ 13 w 36"/>
                <a:gd name="T9" fmla="*/ 3 h 35"/>
                <a:gd name="T10" fmla="*/ 12 w 36"/>
                <a:gd name="T11" fmla="*/ 5 h 35"/>
                <a:gd name="T12" fmla="*/ 12 w 36"/>
                <a:gd name="T13" fmla="*/ 0 h 35"/>
                <a:gd name="T14" fmla="*/ 0 w 36"/>
                <a:gd name="T15" fmla="*/ 0 h 35"/>
                <a:gd name="T16" fmla="*/ 0 w 36"/>
                <a:gd name="T17" fmla="*/ 2 h 35"/>
                <a:gd name="T18" fmla="*/ 0 w 36"/>
                <a:gd name="T19" fmla="*/ 12 h 35"/>
                <a:gd name="T20" fmla="*/ 0 w 36"/>
                <a:gd name="T21" fmla="*/ 35 h 35"/>
                <a:gd name="T22" fmla="*/ 12 w 36"/>
                <a:gd name="T23" fmla="*/ 35 h 35"/>
                <a:gd name="T24" fmla="*/ 12 w 36"/>
                <a:gd name="T25" fmla="*/ 16 h 35"/>
                <a:gd name="T26" fmla="*/ 12 w 36"/>
                <a:gd name="T27" fmla="*/ 13 h 35"/>
                <a:gd name="T28" fmla="*/ 15 w 36"/>
                <a:gd name="T29" fmla="*/ 10 h 35"/>
                <a:gd name="T30" fmla="*/ 18 w 36"/>
                <a:gd name="T31" fmla="*/ 9 h 35"/>
                <a:gd name="T32" fmla="*/ 23 w 36"/>
                <a:gd name="T33" fmla="*/ 11 h 35"/>
                <a:gd name="T34" fmla="*/ 24 w 36"/>
                <a:gd name="T35" fmla="*/ 16 h 35"/>
                <a:gd name="T36" fmla="*/ 24 w 36"/>
                <a:gd name="T37" fmla="*/ 35 h 35"/>
                <a:gd name="T38" fmla="*/ 36 w 36"/>
                <a:gd name="T39" fmla="*/ 35 h 35"/>
                <a:gd name="T40" fmla="*/ 36 w 36"/>
                <a:gd name="T41" fmla="*/ 15 h 35"/>
                <a:gd name="T42" fmla="*/ 32 w 36"/>
                <a:gd name="T43" fmla="*/ 3 h 35"/>
                <a:gd name="T44" fmla="*/ 32 w 36"/>
                <a:gd name="T45" fmla="*/ 3 h 35"/>
                <a:gd name="T46" fmla="*/ 32 w 36"/>
                <a:gd name="T47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" h="35">
                  <a:moveTo>
                    <a:pt x="32" y="3"/>
                  </a:moveTo>
                  <a:cubicBezTo>
                    <a:pt x="29" y="1"/>
                    <a:pt x="26" y="0"/>
                    <a:pt x="22" y="0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7" y="0"/>
                    <a:pt x="16" y="1"/>
                    <a:pt x="15" y="2"/>
                  </a:cubicBezTo>
                  <a:cubicBezTo>
                    <a:pt x="14" y="2"/>
                    <a:pt x="14" y="3"/>
                    <a:pt x="13" y="3"/>
                  </a:cubicBezTo>
                  <a:cubicBezTo>
                    <a:pt x="13" y="4"/>
                    <a:pt x="12" y="5"/>
                    <a:pt x="12" y="5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7"/>
                    <a:pt x="0" y="12"/>
                  </a:cubicBezTo>
                  <a:cubicBezTo>
                    <a:pt x="0" y="18"/>
                    <a:pt x="0" y="26"/>
                    <a:pt x="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4"/>
                    <a:pt x="12" y="14"/>
                    <a:pt x="12" y="13"/>
                  </a:cubicBezTo>
                  <a:cubicBezTo>
                    <a:pt x="13" y="12"/>
                    <a:pt x="14" y="11"/>
                    <a:pt x="15" y="10"/>
                  </a:cubicBezTo>
                  <a:cubicBezTo>
                    <a:pt x="15" y="9"/>
                    <a:pt x="17" y="9"/>
                    <a:pt x="18" y="9"/>
                  </a:cubicBezTo>
                  <a:cubicBezTo>
                    <a:pt x="20" y="9"/>
                    <a:pt x="22" y="9"/>
                    <a:pt x="23" y="11"/>
                  </a:cubicBezTo>
                  <a:cubicBezTo>
                    <a:pt x="24" y="12"/>
                    <a:pt x="24" y="14"/>
                    <a:pt x="24" y="16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6" y="10"/>
                    <a:pt x="34" y="6"/>
                    <a:pt x="32" y="3"/>
                  </a:cubicBezTo>
                  <a:close/>
                  <a:moveTo>
                    <a:pt x="32" y="3"/>
                  </a:moveTo>
                  <a:cubicBezTo>
                    <a:pt x="32" y="3"/>
                    <a:pt x="32" y="3"/>
                    <a:pt x="32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" name="Freeform 18"/>
            <p:cNvSpPr>
              <a:spLocks noEditPoints="1"/>
            </p:cNvSpPr>
            <p:nvPr userDrawn="1"/>
          </p:nvSpPr>
          <p:spPr bwMode="auto">
            <a:xfrm>
              <a:off x="2152650" y="4338637"/>
              <a:ext cx="52388" cy="50800"/>
            </a:xfrm>
            <a:custGeom>
              <a:avLst/>
              <a:gdLst>
                <a:gd name="T0" fmla="*/ 6 w 13"/>
                <a:gd name="T1" fmla="*/ 0 h 12"/>
                <a:gd name="T2" fmla="*/ 2 w 13"/>
                <a:gd name="T3" fmla="*/ 1 h 12"/>
                <a:gd name="T4" fmla="*/ 0 w 13"/>
                <a:gd name="T5" fmla="*/ 6 h 12"/>
                <a:gd name="T6" fmla="*/ 2 w 13"/>
                <a:gd name="T7" fmla="*/ 10 h 12"/>
                <a:gd name="T8" fmla="*/ 6 w 13"/>
                <a:gd name="T9" fmla="*/ 12 h 12"/>
                <a:gd name="T10" fmla="*/ 6 w 13"/>
                <a:gd name="T11" fmla="*/ 12 h 12"/>
                <a:gd name="T12" fmla="*/ 11 w 13"/>
                <a:gd name="T13" fmla="*/ 10 h 12"/>
                <a:gd name="T14" fmla="*/ 13 w 13"/>
                <a:gd name="T15" fmla="*/ 6 h 12"/>
                <a:gd name="T16" fmla="*/ 11 w 13"/>
                <a:gd name="T17" fmla="*/ 1 h 12"/>
                <a:gd name="T18" fmla="*/ 6 w 13"/>
                <a:gd name="T19" fmla="*/ 0 h 12"/>
                <a:gd name="T20" fmla="*/ 6 w 13"/>
                <a:gd name="T21" fmla="*/ 0 h 12"/>
                <a:gd name="T22" fmla="*/ 6 w 13"/>
                <a:gd name="T2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2">
                  <a:moveTo>
                    <a:pt x="6" y="0"/>
                  </a:moveTo>
                  <a:cubicBezTo>
                    <a:pt x="4" y="0"/>
                    <a:pt x="3" y="0"/>
                    <a:pt x="2" y="1"/>
                  </a:cubicBezTo>
                  <a:cubicBezTo>
                    <a:pt x="0" y="2"/>
                    <a:pt x="0" y="4"/>
                    <a:pt x="0" y="6"/>
                  </a:cubicBezTo>
                  <a:cubicBezTo>
                    <a:pt x="0" y="7"/>
                    <a:pt x="0" y="9"/>
                    <a:pt x="2" y="10"/>
                  </a:cubicBezTo>
                  <a:cubicBezTo>
                    <a:pt x="3" y="11"/>
                    <a:pt x="4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8" y="12"/>
                    <a:pt x="10" y="11"/>
                    <a:pt x="11" y="10"/>
                  </a:cubicBezTo>
                  <a:cubicBezTo>
                    <a:pt x="12" y="9"/>
                    <a:pt x="13" y="7"/>
                    <a:pt x="13" y="6"/>
                  </a:cubicBezTo>
                  <a:cubicBezTo>
                    <a:pt x="13" y="4"/>
                    <a:pt x="12" y="2"/>
                    <a:pt x="11" y="1"/>
                  </a:cubicBezTo>
                  <a:cubicBezTo>
                    <a:pt x="10" y="0"/>
                    <a:pt x="8" y="0"/>
                    <a:pt x="6" y="0"/>
                  </a:cubicBezTo>
                  <a:close/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20" name="Freeform 19"/>
          <p:cNvSpPr>
            <a:spLocks noEditPoints="1"/>
          </p:cNvSpPr>
          <p:nvPr userDrawn="1"/>
        </p:nvSpPr>
        <p:spPr bwMode="auto">
          <a:xfrm>
            <a:off x="590647" y="6352384"/>
            <a:ext cx="233363" cy="190500"/>
          </a:xfrm>
          <a:custGeom>
            <a:avLst/>
            <a:gdLst>
              <a:gd name="T0" fmla="*/ 51 w 58"/>
              <a:gd name="T1" fmla="*/ 7 h 46"/>
              <a:gd name="T2" fmla="*/ 56 w 58"/>
              <a:gd name="T3" fmla="*/ 1 h 46"/>
              <a:gd name="T4" fmla="*/ 49 w 58"/>
              <a:gd name="T5" fmla="*/ 3 h 46"/>
              <a:gd name="T6" fmla="*/ 40 w 58"/>
              <a:gd name="T7" fmla="*/ 0 h 46"/>
              <a:gd name="T8" fmla="*/ 32 w 58"/>
              <a:gd name="T9" fmla="*/ 3 h 46"/>
              <a:gd name="T10" fmla="*/ 28 w 58"/>
              <a:gd name="T11" fmla="*/ 12 h 46"/>
              <a:gd name="T12" fmla="*/ 29 w 58"/>
              <a:gd name="T13" fmla="*/ 14 h 46"/>
              <a:gd name="T14" fmla="*/ 4 w 58"/>
              <a:gd name="T15" fmla="*/ 2 h 46"/>
              <a:gd name="T16" fmla="*/ 3 w 58"/>
              <a:gd name="T17" fmla="*/ 8 h 46"/>
              <a:gd name="T18" fmla="*/ 8 w 58"/>
              <a:gd name="T19" fmla="*/ 18 h 46"/>
              <a:gd name="T20" fmla="*/ 3 w 58"/>
              <a:gd name="T21" fmla="*/ 16 h 46"/>
              <a:gd name="T22" fmla="*/ 5 w 58"/>
              <a:gd name="T23" fmla="*/ 24 h 46"/>
              <a:gd name="T24" fmla="*/ 12 w 58"/>
              <a:gd name="T25" fmla="*/ 28 h 46"/>
              <a:gd name="T26" fmla="*/ 9 w 58"/>
              <a:gd name="T27" fmla="*/ 28 h 46"/>
              <a:gd name="T28" fmla="*/ 7 w 58"/>
              <a:gd name="T29" fmla="*/ 28 h 46"/>
              <a:gd name="T30" fmla="*/ 11 w 58"/>
              <a:gd name="T31" fmla="*/ 34 h 46"/>
              <a:gd name="T32" fmla="*/ 18 w 58"/>
              <a:gd name="T33" fmla="*/ 36 h 46"/>
              <a:gd name="T34" fmla="*/ 3 w 58"/>
              <a:gd name="T35" fmla="*/ 41 h 46"/>
              <a:gd name="T36" fmla="*/ 0 w 58"/>
              <a:gd name="T37" fmla="*/ 41 h 46"/>
              <a:gd name="T38" fmla="*/ 19 w 58"/>
              <a:gd name="T39" fmla="*/ 46 h 46"/>
              <a:gd name="T40" fmla="*/ 37 w 58"/>
              <a:gd name="T41" fmla="*/ 41 h 46"/>
              <a:gd name="T42" fmla="*/ 48 w 58"/>
              <a:gd name="T43" fmla="*/ 29 h 46"/>
              <a:gd name="T44" fmla="*/ 52 w 58"/>
              <a:gd name="T45" fmla="*/ 13 h 46"/>
              <a:gd name="T46" fmla="*/ 52 w 58"/>
              <a:gd name="T47" fmla="*/ 11 h 46"/>
              <a:gd name="T48" fmla="*/ 58 w 58"/>
              <a:gd name="T49" fmla="*/ 5 h 46"/>
              <a:gd name="T50" fmla="*/ 51 w 58"/>
              <a:gd name="T51" fmla="*/ 7 h 46"/>
              <a:gd name="T52" fmla="*/ 51 w 58"/>
              <a:gd name="T53" fmla="*/ 7 h 46"/>
              <a:gd name="T54" fmla="*/ 51 w 58"/>
              <a:gd name="T55" fmla="*/ 7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58" h="46">
                <a:moveTo>
                  <a:pt x="51" y="7"/>
                </a:moveTo>
                <a:cubicBezTo>
                  <a:pt x="54" y="6"/>
                  <a:pt x="56" y="3"/>
                  <a:pt x="56" y="1"/>
                </a:cubicBezTo>
                <a:cubicBezTo>
                  <a:pt x="54" y="2"/>
                  <a:pt x="51" y="3"/>
                  <a:pt x="49" y="3"/>
                </a:cubicBezTo>
                <a:cubicBezTo>
                  <a:pt x="47" y="1"/>
                  <a:pt x="44" y="0"/>
                  <a:pt x="40" y="0"/>
                </a:cubicBezTo>
                <a:cubicBezTo>
                  <a:pt x="37" y="0"/>
                  <a:pt x="34" y="1"/>
                  <a:pt x="32" y="3"/>
                </a:cubicBezTo>
                <a:cubicBezTo>
                  <a:pt x="30" y="6"/>
                  <a:pt x="28" y="8"/>
                  <a:pt x="28" y="12"/>
                </a:cubicBezTo>
                <a:cubicBezTo>
                  <a:pt x="28" y="13"/>
                  <a:pt x="29" y="13"/>
                  <a:pt x="29" y="14"/>
                </a:cubicBezTo>
                <a:cubicBezTo>
                  <a:pt x="19" y="14"/>
                  <a:pt x="11" y="10"/>
                  <a:pt x="4" y="2"/>
                </a:cubicBezTo>
                <a:cubicBezTo>
                  <a:pt x="3" y="4"/>
                  <a:pt x="3" y="6"/>
                  <a:pt x="3" y="8"/>
                </a:cubicBezTo>
                <a:cubicBezTo>
                  <a:pt x="3" y="12"/>
                  <a:pt x="5" y="15"/>
                  <a:pt x="8" y="18"/>
                </a:cubicBezTo>
                <a:cubicBezTo>
                  <a:pt x="6" y="18"/>
                  <a:pt x="4" y="17"/>
                  <a:pt x="3" y="16"/>
                </a:cubicBezTo>
                <a:cubicBezTo>
                  <a:pt x="3" y="19"/>
                  <a:pt x="4" y="22"/>
                  <a:pt x="5" y="24"/>
                </a:cubicBezTo>
                <a:cubicBezTo>
                  <a:pt x="7" y="26"/>
                  <a:pt x="9" y="27"/>
                  <a:pt x="12" y="28"/>
                </a:cubicBezTo>
                <a:cubicBezTo>
                  <a:pt x="11" y="28"/>
                  <a:pt x="10" y="28"/>
                  <a:pt x="9" y="28"/>
                </a:cubicBezTo>
                <a:cubicBezTo>
                  <a:pt x="8" y="28"/>
                  <a:pt x="7" y="28"/>
                  <a:pt x="7" y="28"/>
                </a:cubicBezTo>
                <a:cubicBezTo>
                  <a:pt x="8" y="30"/>
                  <a:pt x="9" y="32"/>
                  <a:pt x="11" y="34"/>
                </a:cubicBezTo>
                <a:cubicBezTo>
                  <a:pt x="13" y="35"/>
                  <a:pt x="15" y="36"/>
                  <a:pt x="18" y="36"/>
                </a:cubicBezTo>
                <a:cubicBezTo>
                  <a:pt x="14" y="40"/>
                  <a:pt x="9" y="41"/>
                  <a:pt x="3" y="41"/>
                </a:cubicBezTo>
                <a:cubicBezTo>
                  <a:pt x="2" y="41"/>
                  <a:pt x="1" y="41"/>
                  <a:pt x="0" y="41"/>
                </a:cubicBezTo>
                <a:cubicBezTo>
                  <a:pt x="6" y="45"/>
                  <a:pt x="12" y="46"/>
                  <a:pt x="19" y="46"/>
                </a:cubicBezTo>
                <a:cubicBezTo>
                  <a:pt x="25" y="46"/>
                  <a:pt x="31" y="45"/>
                  <a:pt x="37" y="41"/>
                </a:cubicBezTo>
                <a:cubicBezTo>
                  <a:pt x="42" y="38"/>
                  <a:pt x="46" y="34"/>
                  <a:pt x="48" y="29"/>
                </a:cubicBezTo>
                <a:cubicBezTo>
                  <a:pt x="51" y="24"/>
                  <a:pt x="52" y="18"/>
                  <a:pt x="52" y="13"/>
                </a:cubicBezTo>
                <a:cubicBezTo>
                  <a:pt x="52" y="11"/>
                  <a:pt x="52" y="11"/>
                  <a:pt x="52" y="11"/>
                </a:cubicBezTo>
                <a:cubicBezTo>
                  <a:pt x="55" y="10"/>
                  <a:pt x="56" y="8"/>
                  <a:pt x="58" y="5"/>
                </a:cubicBezTo>
                <a:cubicBezTo>
                  <a:pt x="56" y="6"/>
                  <a:pt x="54" y="7"/>
                  <a:pt x="51" y="7"/>
                </a:cubicBezTo>
                <a:close/>
                <a:moveTo>
                  <a:pt x="51" y="7"/>
                </a:moveTo>
                <a:cubicBezTo>
                  <a:pt x="51" y="7"/>
                  <a:pt x="51" y="7"/>
                  <a:pt x="51" y="7"/>
                </a:cubicBezTo>
              </a:path>
            </a:pathLst>
          </a:custGeom>
          <a:solidFill>
            <a:schemeClr val="bg1">
              <a:alpha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1" name="Date Placeholder 1"/>
          <p:cNvSpPr>
            <a:spLocks noGrp="1"/>
          </p:cNvSpPr>
          <p:nvPr>
            <p:ph type="dt" sz="half" idx="10"/>
          </p:nvPr>
        </p:nvSpPr>
        <p:spPr>
          <a:xfrm>
            <a:off x="609441" y="6248400"/>
            <a:ext cx="2844059" cy="365125"/>
          </a:xfrm>
        </p:spPr>
        <p:txBody>
          <a:bodyPr/>
          <a:lstStyle/>
          <a:p>
            <a:fld id="{CEDAEF63-FBF5-4459-BC63-41A148B09500}" type="datetime1">
              <a:rPr lang="en-US" smtClean="0"/>
              <a:t>7/3/20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576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807665" y="6248400"/>
            <a:ext cx="379572" cy="365125"/>
          </a:xfrm>
          <a:solidFill>
            <a:schemeClr val="accent3">
              <a:alpha val="5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874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288586" y="4648200"/>
            <a:ext cx="2844059" cy="365125"/>
          </a:xfrm>
        </p:spPr>
        <p:txBody>
          <a:bodyPr/>
          <a:lstStyle/>
          <a:p>
            <a:fld id="{BA66AF6C-3552-4908-B2F1-45F9137198C6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solidFill>
            <a:schemeClr val="accent3"/>
          </a:solidFill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9845643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2109634" y="6352384"/>
            <a:ext cx="2844059" cy="365125"/>
          </a:xfrm>
        </p:spPr>
        <p:txBody>
          <a:bodyPr/>
          <a:lstStyle/>
          <a:p>
            <a:fld id="{CEDAEF63-FBF5-4459-BC63-41A148B09500}" type="datetime1">
              <a:rPr lang="en-US" smtClean="0"/>
              <a:t>7/3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solidFill>
            <a:schemeClr val="accent3">
              <a:alpha val="5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6E69268-9C8B-4EBF-A9EE-DC5DC2D48DC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12494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7447" y="3733800"/>
            <a:ext cx="10947565" cy="2137870"/>
          </a:xfrm>
        </p:spPr>
        <p:txBody>
          <a:bodyPr lIns="0" tIns="0" rIns="0" bIns="0" anchor="b" anchorCtr="0">
            <a:noAutofit/>
          </a:bodyPr>
          <a:lstStyle>
            <a:lvl1pPr algn="ctr">
              <a:defRPr lang="en-US" sz="40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9D890D-2794-4869-A814-BD4C7B9CFCE3}" type="datetime1">
              <a:rPr lang="en-US" smtClean="0"/>
              <a:t>7/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EDE275-BE14-4364-AEA2-5F5667C0FD49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25567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50DC30-E445-48ED-81E5-7D5AEA542724}" type="datetime1">
              <a:rPr lang="en-US" smtClean="0"/>
              <a:t>7/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63244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18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17.xml"/><Relationship Id="rId16" Type="http://schemas.openxmlformats.org/officeDocument/2006/relationships/theme" Target="../theme/theme3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274639"/>
            <a:ext cx="10969943" cy="711081"/>
          </a:xfrm>
          <a:prstGeom prst="rect">
            <a:avLst/>
          </a:prstGeom>
        </p:spPr>
        <p:txBody>
          <a:bodyPr vert="horz" lIns="0" tIns="60949" rIns="0" bIns="60949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138425"/>
            <a:ext cx="10969943" cy="4987739"/>
          </a:xfrm>
          <a:prstGeom prst="rect">
            <a:avLst/>
          </a:prstGeom>
        </p:spPr>
        <p:txBody>
          <a:bodyPr vert="horz" lIns="0" tIns="60949" rIns="0" bIns="60949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248400"/>
            <a:ext cx="2844059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66AF6C-3552-4908-B2F1-45F9137198C6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5" y="6248400"/>
            <a:ext cx="3859795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7665" y="6248400"/>
            <a:ext cx="379572" cy="365125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4508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0" r:id="rId2"/>
    <p:sldLayoutId id="2147483652" r:id="rId3"/>
    <p:sldLayoutId id="2147483664" r:id="rId4"/>
    <p:sldLayoutId id="2147483654" r:id="rId5"/>
    <p:sldLayoutId id="2147483663" r:id="rId6"/>
    <p:sldLayoutId id="2147483655" r:id="rId7"/>
  </p:sldLayoutIdLst>
  <p:hf hdr="0" ftr="0" dt="0"/>
  <p:txStyles>
    <p:titleStyle>
      <a:lvl1pPr algn="ctr" defTabSz="1218987" rtl="0" eaLnBrk="1" latinLnBrk="0" hangingPunct="1">
        <a:spcBef>
          <a:spcPct val="0"/>
        </a:spcBef>
        <a:buNone/>
        <a:defRPr sz="3600" kern="120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09494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18986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828480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437973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274639"/>
            <a:ext cx="10969943" cy="711081"/>
          </a:xfrm>
          <a:prstGeom prst="rect">
            <a:avLst/>
          </a:prstGeom>
        </p:spPr>
        <p:txBody>
          <a:bodyPr vert="horz" lIns="0" tIns="60949" rIns="0" bIns="60949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138425"/>
            <a:ext cx="10969943" cy="4987739"/>
          </a:xfrm>
          <a:prstGeom prst="rect">
            <a:avLst/>
          </a:prstGeom>
        </p:spPr>
        <p:txBody>
          <a:bodyPr vert="horz" lIns="0" tIns="60949" rIns="0" bIns="60949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248400"/>
            <a:ext cx="2844059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66AF6C-3552-4908-B2F1-45F9137198C6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5" y="6248400"/>
            <a:ext cx="3859795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7665" y="6248400"/>
            <a:ext cx="379572" cy="365125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5356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</p:sldLayoutIdLst>
  <p:hf hdr="0" ftr="0" dt="0"/>
  <p:txStyles>
    <p:titleStyle>
      <a:lvl1pPr algn="ctr" defTabSz="1218987" rtl="0" eaLnBrk="1" latinLnBrk="0" hangingPunct="1">
        <a:spcBef>
          <a:spcPct val="0"/>
        </a:spcBef>
        <a:buNone/>
        <a:defRPr sz="3600" kern="120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09494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18986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828480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437973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B9B5C9D4-738D-4E05-AB6E-32F0FFACA9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4017448613"/>
              </p:ext>
            </p:extLst>
          </p:nvPr>
        </p:nvGraphicFramePr>
        <p:xfrm>
          <a:off x="1954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B9B5C9D4-738D-4E05-AB6E-32F0FFACA92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8"/>
                        <a:ext cx="1954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6 Rectángulo"/>
          <p:cNvSpPr/>
          <p:nvPr userDrawn="1"/>
        </p:nvSpPr>
        <p:spPr bwMode="auto">
          <a:xfrm>
            <a:off x="4687403" y="6531894"/>
            <a:ext cx="3322581" cy="31902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s-ES_trad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r>
              <a:rPr kumimoji="0" lang="pt-BR" sz="800" b="0" i="0" u="none" strike="noStrike" cap="none" normalizeH="0" baseline="0" noProof="0">
                <a:ln>
                  <a:noFill/>
                </a:ln>
                <a:solidFill>
                  <a:srgbClr val="5F5F5F"/>
                </a:solidFill>
                <a:effectLst/>
                <a:latin typeface="Arial" charset="0"/>
              </a:rPr>
              <a:t>GALP _ RMP 5	</a:t>
            </a:r>
            <a:fld id="{E92ADA9A-3478-4E1E-97E5-89FBE0E6B9D1}" type="slidenum">
              <a:rPr kumimoji="0" lang="pt-BR" sz="800" b="0" i="0" u="none" strike="noStrike" cap="none" normalizeH="0" baseline="0" noProof="0" smtClean="0">
                <a:ln>
                  <a:noFill/>
                </a:ln>
                <a:solidFill>
                  <a:srgbClr val="5F5F5F"/>
                </a:solidFill>
                <a:effectLst/>
                <a:latin typeface="Arial" charset="0"/>
              </a:rPr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</a:pPr>
              <a:t>‹Nº›</a:t>
            </a:fld>
            <a:endParaRPr kumimoji="0" lang="pt-BR" sz="800" b="0" i="0" u="none" strike="noStrike" cap="none" normalizeH="0" baseline="0" noProof="0">
              <a:ln>
                <a:noFill/>
              </a:ln>
              <a:solidFill>
                <a:srgbClr val="5F5F5F"/>
              </a:solidFill>
              <a:effectLst/>
              <a:latin typeface="Arial" charset="0"/>
            </a:endParaRPr>
          </a:p>
        </p:txBody>
      </p:sp>
      <p:pic>
        <p:nvPicPr>
          <p:cNvPr id="9" name="Imagen 5">
            <a:extLst>
              <a:ext uri="{FF2B5EF4-FFF2-40B4-BE49-F238E27FC236}">
                <a16:creationId xmlns:a16="http://schemas.microsoft.com/office/drawing/2014/main" id="{12350F85-3DA0-4F96-8E5E-C1F1E030AEC9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7015" y="6303841"/>
            <a:ext cx="2059444" cy="460807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8B98804-F9AE-4B7E-9E17-89EB8D596759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print">
            <a:clrChange>
              <a:clrFrom>
                <a:srgbClr val="F7FFFF"/>
              </a:clrFrom>
              <a:clrTo>
                <a:srgbClr val="F7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2332" y="6260571"/>
            <a:ext cx="1417393" cy="542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66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</p:sldLayoutIdLst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s-ES" sz="2200" b="1" i="0" kern="1200" baseline="0" dirty="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180975" indent="-180975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lang="es-ES" sz="1400" kern="1200" baseline="0" dirty="0" smtClean="0">
          <a:solidFill>
            <a:schemeClr val="accent6">
              <a:lumMod val="7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66725" indent="-28575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lang="es-ES" sz="1200" kern="1200" baseline="0" dirty="0" smtClean="0">
          <a:solidFill>
            <a:schemeClr val="accent6">
              <a:lumMod val="7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47700" indent="-28575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lang="es-ES" sz="1000" kern="1200" baseline="0" dirty="0" smtClean="0">
          <a:solidFill>
            <a:schemeClr val="accent6">
              <a:lumMod val="7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180975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lang="es-ES" sz="1400" kern="1200" dirty="0" smtClean="0">
          <a:solidFill>
            <a:schemeClr val="accent6">
              <a:lumMod val="7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180975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lang="es-ES" sz="1400" kern="1200" dirty="0">
          <a:solidFill>
            <a:schemeClr val="accent6">
              <a:lumMod val="7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jp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microsoft.com/office/2007/relationships/hdphoto" Target="../media/hdphoto2.wdp"/><Relationship Id="rId7" Type="http://schemas.microsoft.com/office/2007/relationships/hdphoto" Target="../media/hdphoto4.wdp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83.png"/><Relationship Id="rId11" Type="http://schemas.microsoft.com/office/2007/relationships/hdphoto" Target="../media/hdphoto6.wdp"/><Relationship Id="rId5" Type="http://schemas.microsoft.com/office/2007/relationships/hdphoto" Target="../media/hdphoto3.wdp"/><Relationship Id="rId10" Type="http://schemas.openxmlformats.org/officeDocument/2006/relationships/image" Target="../media/image85.png"/><Relationship Id="rId4" Type="http://schemas.openxmlformats.org/officeDocument/2006/relationships/image" Target="../media/image82.png"/><Relationship Id="rId9" Type="http://schemas.microsoft.com/office/2007/relationships/hdphoto" Target="../media/hdphoto5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flickr.com/photos/fkehren/302512329" TargetMode="External"/><Relationship Id="rId2" Type="http://schemas.openxmlformats.org/officeDocument/2006/relationships/image" Target="../media/image86.jpg"/><Relationship Id="rId1" Type="http://schemas.openxmlformats.org/officeDocument/2006/relationships/slideLayout" Target="../slideLayouts/slideLayout7.xml"/><Relationship Id="rId6" Type="http://schemas.microsoft.com/office/2007/relationships/hdphoto" Target="../media/hdphoto2.wdp"/><Relationship Id="rId5" Type="http://schemas.openxmlformats.org/officeDocument/2006/relationships/image" Target="../media/image81.png"/><Relationship Id="rId4" Type="http://schemas.openxmlformats.org/officeDocument/2006/relationships/hyperlink" Target="https://opendata-ajuntament.barcelona.cat/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microsoft.com/office/2007/relationships/hdphoto" Target="../media/hdphoto3.wdp"/><Relationship Id="rId7" Type="http://schemas.openxmlformats.org/officeDocument/2006/relationships/image" Target="../media/image90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9.png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2.pn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96.png"/><Relationship Id="rId4" Type="http://schemas.openxmlformats.org/officeDocument/2006/relationships/image" Target="../media/image9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0">
              <a:srgbClr val="32C3FF"/>
            </a:gs>
            <a:gs pos="10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627447" y="4038600"/>
            <a:ext cx="10947565" cy="1833070"/>
          </a:xfrm>
        </p:spPr>
        <p:txBody>
          <a:bodyPr>
            <a:normAutofit/>
          </a:bodyPr>
          <a:lstStyle/>
          <a:p>
            <a:pPr algn="ctr"/>
            <a:r>
              <a:rPr lang="en-IN" sz="3100" b="1" dirty="0">
                <a:solidFill>
                  <a:schemeClr val="bg1"/>
                </a:solidFill>
              </a:rPr>
              <a:t>Transportation Dataset Analysis</a:t>
            </a:r>
            <a:br>
              <a:rPr lang="en-IN" sz="4800" b="1" dirty="0">
                <a:solidFill>
                  <a:schemeClr val="bg1"/>
                </a:solidFill>
              </a:rPr>
            </a:br>
            <a:br>
              <a:rPr lang="en-IN" sz="4800" b="1" dirty="0">
                <a:solidFill>
                  <a:schemeClr val="bg1"/>
                </a:solidFill>
              </a:rPr>
            </a:br>
            <a:r>
              <a:rPr lang="en-US" altLang="zh-CN" sz="2200" b="1" dirty="0">
                <a:solidFill>
                  <a:schemeClr val="bg1"/>
                </a:solidFill>
              </a:rPr>
              <a:t>3</a:t>
            </a:r>
            <a:r>
              <a:rPr lang="en-US" altLang="zh-CN" sz="2200" b="1" baseline="30000" dirty="0">
                <a:solidFill>
                  <a:schemeClr val="bg1"/>
                </a:solidFill>
              </a:rPr>
              <a:t>rd</a:t>
            </a:r>
            <a:r>
              <a:rPr lang="zh-CN" altLang="en-US" sz="2200" b="1" dirty="0">
                <a:solidFill>
                  <a:schemeClr val="bg1"/>
                </a:solidFill>
              </a:rPr>
              <a:t> </a:t>
            </a:r>
            <a:r>
              <a:rPr lang="en-US" altLang="zh-CN" sz="2200" b="1" dirty="0">
                <a:solidFill>
                  <a:schemeClr val="bg1"/>
                </a:solidFill>
              </a:rPr>
              <a:t>July</a:t>
            </a:r>
            <a:r>
              <a:rPr lang="zh-CN" altLang="en-US" sz="2200" b="1" dirty="0">
                <a:solidFill>
                  <a:schemeClr val="bg1"/>
                </a:solidFill>
              </a:rPr>
              <a:t> </a:t>
            </a:r>
            <a:r>
              <a:rPr lang="en-US" altLang="zh-CN" sz="2200" b="1" dirty="0">
                <a:solidFill>
                  <a:schemeClr val="bg1"/>
                </a:solidFill>
              </a:rPr>
              <a:t>2020</a:t>
            </a:r>
            <a:r>
              <a:rPr lang="zh-CN" altLang="en-US" sz="2200" b="1" dirty="0">
                <a:solidFill>
                  <a:schemeClr val="bg1"/>
                </a:solidFill>
              </a:rPr>
              <a:t>     </a:t>
            </a:r>
            <a:r>
              <a:rPr lang="en-US" altLang="zh-CN" sz="2200" b="1" dirty="0">
                <a:solidFill>
                  <a:schemeClr val="bg1"/>
                </a:solidFill>
              </a:rPr>
              <a:t>Barcelona</a:t>
            </a:r>
            <a:endParaRPr lang="en-US" sz="2200" b="1" dirty="0">
              <a:solidFill>
                <a:schemeClr val="bg1"/>
              </a:solidFill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5AC3E922-A0C1-492C-A021-B838BE58B0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0412" y="381000"/>
            <a:ext cx="2638425" cy="285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9406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2C3FF"/>
            </a:gs>
            <a:gs pos="10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>
            <a:extLst>
              <a:ext uri="{FF2B5EF4-FFF2-40B4-BE49-F238E27FC236}">
                <a16:creationId xmlns:a16="http://schemas.microsoft.com/office/drawing/2014/main" id="{16AACA18-CE99-41FC-B92F-CCF0CF5157D2}"/>
              </a:ext>
            </a:extLst>
          </p:cNvPr>
          <p:cNvSpPr txBox="1">
            <a:spLocks/>
          </p:cNvSpPr>
          <p:nvPr/>
        </p:nvSpPr>
        <p:spPr>
          <a:xfrm>
            <a:off x="2970212" y="203319"/>
            <a:ext cx="8313537" cy="71108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 fontScale="92500"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ts val="0"/>
              </a:spcBef>
              <a:defRPr/>
            </a:pPr>
            <a:r>
              <a:rPr lang="en-IN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IN" sz="2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</a:t>
            </a:r>
            <a:r>
              <a:rPr lang="en-IN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– Challenges Encountered &amp; Key Learnings</a:t>
            </a:r>
          </a:p>
        </p:txBody>
      </p:sp>
      <p:graphicFrame>
        <p:nvGraphicFramePr>
          <p:cNvPr id="49" name="Table 6">
            <a:extLst>
              <a:ext uri="{FF2B5EF4-FFF2-40B4-BE49-F238E27FC236}">
                <a16:creationId xmlns:a16="http://schemas.microsoft.com/office/drawing/2014/main" id="{245A6B3C-2902-471C-A356-E940A0E866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2852834"/>
              </p:ext>
            </p:extLst>
          </p:nvPr>
        </p:nvGraphicFramePr>
        <p:xfrm>
          <a:off x="1522412" y="1066800"/>
          <a:ext cx="10287000" cy="56035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29000">
                  <a:extLst>
                    <a:ext uri="{9D8B030D-6E8A-4147-A177-3AD203B41FA5}">
                      <a16:colId xmlns:a16="http://schemas.microsoft.com/office/drawing/2014/main" val="1231547171"/>
                    </a:ext>
                  </a:extLst>
                </a:gridCol>
                <a:gridCol w="3429000">
                  <a:extLst>
                    <a:ext uri="{9D8B030D-6E8A-4147-A177-3AD203B41FA5}">
                      <a16:colId xmlns:a16="http://schemas.microsoft.com/office/drawing/2014/main" val="2740016752"/>
                    </a:ext>
                  </a:extLst>
                </a:gridCol>
                <a:gridCol w="3429000">
                  <a:extLst>
                    <a:ext uri="{9D8B030D-6E8A-4147-A177-3AD203B41FA5}">
                      <a16:colId xmlns:a16="http://schemas.microsoft.com/office/drawing/2014/main" val="2635573497"/>
                    </a:ext>
                  </a:extLst>
                </a:gridCol>
              </a:tblGrid>
              <a:tr h="457785">
                <a:tc>
                  <a:txBody>
                    <a:bodyPr/>
                    <a:lstStyle/>
                    <a:p>
                      <a:r>
                        <a:rPr lang="en-US" sz="2000" dirty="0"/>
                        <a:t>Challen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Caused b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Learning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3220155"/>
                  </a:ext>
                </a:extLst>
              </a:tr>
              <a:tr h="1514210"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We could back test with historical data but we will never know if they will hold their truth “in the streets”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Are our insights/hypothesis true? How to reduce uncertainty?</a:t>
                      </a:r>
                    </a:p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When analysis involve offline phenomena's, at least some case-studies are necessary to validate hypothes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4415976"/>
                  </a:ext>
                </a:extLst>
              </a:tr>
              <a:tr h="1866352"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Overthinking data frame manipulations</a:t>
                      </a:r>
                    </a:p>
                    <a:p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Doubts about representative analysis: sample size, value type(Percentual or absolute value? Comparing years or neighborhoods? How homogeneous is the area of each neighborhood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Start by doing the basic, then build up complexity once you understand the nature of your data. Test representativeness with subsets once the initial work is don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098275"/>
                  </a:ext>
                </a:extLst>
              </a:tr>
              <a:tr h="809926">
                <a:tc>
                  <a:txBody>
                    <a:bodyPr/>
                    <a:lstStyle/>
                    <a:p>
                      <a:r>
                        <a:rPr lang="en-US" sz="1800" dirty="0"/>
                        <a:t>Losing overview (</a:t>
                      </a:r>
                      <a:r>
                        <a:rPr lang="en-US" sz="1800" dirty="0" err="1"/>
                        <a:t>Jupyter</a:t>
                      </a:r>
                      <a:r>
                        <a:rPr lang="en-US" sz="1800" dirty="0"/>
                        <a:t> Notebook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4 datasets, four different par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rganize Notebook with Markdow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7685042"/>
                  </a:ext>
                </a:extLst>
              </a:tr>
              <a:tr h="809926">
                <a:tc>
                  <a:txBody>
                    <a:bodyPr/>
                    <a:lstStyle/>
                    <a:p>
                      <a:r>
                        <a:rPr lang="en-US" sz="1800" dirty="0"/>
                        <a:t>Repeat entire code because of mistak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Wrong expectation of meaningful resul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More time to plan before cod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2683293"/>
                  </a:ext>
                </a:extLst>
              </a:tr>
            </a:tbl>
          </a:graphicData>
        </a:graphic>
      </p:graphicFrame>
      <p:pic>
        <p:nvPicPr>
          <p:cNvPr id="54" name="Picture 8" descr="quest Icon 909406">
            <a:extLst>
              <a:ext uri="{FF2B5EF4-FFF2-40B4-BE49-F238E27FC236}">
                <a16:creationId xmlns:a16="http://schemas.microsoft.com/office/drawing/2014/main" id="{6D55FC32-EFD7-461A-9CC0-B88A4DEC33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54271" y="333000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Oval 2">
            <a:extLst>
              <a:ext uri="{FF2B5EF4-FFF2-40B4-BE49-F238E27FC236}">
                <a16:creationId xmlns:a16="http://schemas.microsoft.com/office/drawing/2014/main" id="{70AF35A5-2ABF-4E32-9193-767D33A2B258}"/>
              </a:ext>
            </a:extLst>
          </p:cNvPr>
          <p:cNvSpPr/>
          <p:nvPr/>
        </p:nvSpPr>
        <p:spPr>
          <a:xfrm>
            <a:off x="379412" y="1371600"/>
            <a:ext cx="1085926" cy="1085926"/>
          </a:xfrm>
          <a:prstGeom prst="ellipse">
            <a:avLst/>
          </a:prstGeom>
          <a:blipFill dpi="0" rotWithShape="1">
            <a:blip r:embed="rId4"/>
            <a:srcRect/>
            <a:stretch>
              <a:fillRect/>
            </a:stretch>
          </a:blipFill>
          <a:ln w="53975">
            <a:solidFill>
              <a:srgbClr val="32C3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8" name="Oval 6">
            <a:extLst>
              <a:ext uri="{FF2B5EF4-FFF2-40B4-BE49-F238E27FC236}">
                <a16:creationId xmlns:a16="http://schemas.microsoft.com/office/drawing/2014/main" id="{882ACD10-B841-4FA8-99A4-EB8BE58BC762}"/>
              </a:ext>
            </a:extLst>
          </p:cNvPr>
          <p:cNvSpPr/>
          <p:nvPr/>
        </p:nvSpPr>
        <p:spPr>
          <a:xfrm>
            <a:off x="379412" y="4781474"/>
            <a:ext cx="1085926" cy="1085926"/>
          </a:xfrm>
          <a:prstGeom prst="ellipse">
            <a:avLst/>
          </a:prstGeom>
          <a:blipFill>
            <a:blip r:embed="rId5"/>
            <a:stretch>
              <a:fillRect/>
            </a:stretch>
          </a:blipFill>
          <a:ln w="53975">
            <a:solidFill>
              <a:srgbClr val="32C3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07297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2C3FF"/>
            </a:gs>
            <a:gs pos="100000">
              <a:schemeClr val="bg1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7"/>
          <p:cNvSpPr>
            <a:spLocks/>
          </p:cNvSpPr>
          <p:nvPr/>
        </p:nvSpPr>
        <p:spPr bwMode="auto">
          <a:xfrm>
            <a:off x="1092588" y="4724400"/>
            <a:ext cx="10003648" cy="731318"/>
          </a:xfrm>
          <a:custGeom>
            <a:avLst/>
            <a:gdLst>
              <a:gd name="T0" fmla="*/ 4608 w 4976"/>
              <a:gd name="T1" fmla="*/ 1691 h 1691"/>
              <a:gd name="T2" fmla="*/ 0 w 4976"/>
              <a:gd name="T3" fmla="*/ 1691 h 1691"/>
              <a:gd name="T4" fmla="*/ 368 w 4976"/>
              <a:gd name="T5" fmla="*/ 0 h 1691"/>
              <a:gd name="T6" fmla="*/ 4976 w 4976"/>
              <a:gd name="T7" fmla="*/ 0 h 1691"/>
              <a:gd name="T8" fmla="*/ 4608 w 4976"/>
              <a:gd name="T9" fmla="*/ 1691 h 1691"/>
              <a:gd name="connsiteX0" fmla="*/ 8695 w 9435"/>
              <a:gd name="connsiteY0" fmla="*/ 10000 h 10046"/>
              <a:gd name="connsiteX1" fmla="*/ 0 w 9435"/>
              <a:gd name="connsiteY1" fmla="*/ 10046 h 10046"/>
              <a:gd name="connsiteX2" fmla="*/ 175 w 9435"/>
              <a:gd name="connsiteY2" fmla="*/ 0 h 10046"/>
              <a:gd name="connsiteX3" fmla="*/ 9435 w 9435"/>
              <a:gd name="connsiteY3" fmla="*/ 0 h 10046"/>
              <a:gd name="connsiteX4" fmla="*/ 8695 w 9435"/>
              <a:gd name="connsiteY4" fmla="*/ 10000 h 10046"/>
              <a:gd name="connsiteX0" fmla="*/ 9216 w 9400"/>
              <a:gd name="connsiteY0" fmla="*/ 10000 h 10046"/>
              <a:gd name="connsiteX1" fmla="*/ 0 w 9400"/>
              <a:gd name="connsiteY1" fmla="*/ 10046 h 10046"/>
              <a:gd name="connsiteX2" fmla="*/ 185 w 9400"/>
              <a:gd name="connsiteY2" fmla="*/ 46 h 10046"/>
              <a:gd name="connsiteX3" fmla="*/ 9400 w 9400"/>
              <a:gd name="connsiteY3" fmla="*/ 0 h 10046"/>
              <a:gd name="connsiteX4" fmla="*/ 9216 w 9400"/>
              <a:gd name="connsiteY4" fmla="*/ 10000 h 10046"/>
              <a:gd name="connsiteX0" fmla="*/ 9804 w 10000"/>
              <a:gd name="connsiteY0" fmla="*/ 9954 h 10000"/>
              <a:gd name="connsiteX1" fmla="*/ 0 w 10000"/>
              <a:gd name="connsiteY1" fmla="*/ 10000 h 10000"/>
              <a:gd name="connsiteX2" fmla="*/ 197 w 10000"/>
              <a:gd name="connsiteY2" fmla="*/ 46 h 10000"/>
              <a:gd name="connsiteX3" fmla="*/ 10000 w 10000"/>
              <a:gd name="connsiteY3" fmla="*/ 0 h 10000"/>
              <a:gd name="connsiteX4" fmla="*/ 9804 w 10000"/>
              <a:gd name="connsiteY4" fmla="*/ 9954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804" y="9954"/>
                </a:moveTo>
                <a:lnTo>
                  <a:pt x="0" y="10000"/>
                </a:lnTo>
                <a:cubicBezTo>
                  <a:pt x="65" y="6681"/>
                  <a:pt x="132" y="3365"/>
                  <a:pt x="197" y="46"/>
                </a:cubicBezTo>
                <a:lnTo>
                  <a:pt x="10000" y="0"/>
                </a:lnTo>
                <a:cubicBezTo>
                  <a:pt x="9935" y="3318"/>
                  <a:pt x="9869" y="6636"/>
                  <a:pt x="9804" y="9954"/>
                </a:cubicBezTo>
                <a:close/>
              </a:path>
            </a:pathLst>
          </a:custGeom>
          <a:solidFill>
            <a:srgbClr val="32C3FF"/>
          </a:solidFill>
          <a:ln>
            <a:noFill/>
          </a:ln>
          <a:effectLst/>
        </p:spPr>
        <p:txBody>
          <a:bodyPr vert="horz" wrap="square" lIns="1080000" tIns="45720" rIns="1080000" bIns="45720" numCol="1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20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reeform 5"/>
          <p:cNvSpPr>
            <a:spLocks/>
          </p:cNvSpPr>
          <p:nvPr/>
        </p:nvSpPr>
        <p:spPr bwMode="auto">
          <a:xfrm>
            <a:off x="4811712" y="1374775"/>
            <a:ext cx="393700" cy="836613"/>
          </a:xfrm>
          <a:custGeom>
            <a:avLst/>
            <a:gdLst>
              <a:gd name="T0" fmla="*/ 85 w 248"/>
              <a:gd name="T1" fmla="*/ 78 h 527"/>
              <a:gd name="T2" fmla="*/ 0 w 248"/>
              <a:gd name="T3" fmla="*/ 78 h 527"/>
              <a:gd name="T4" fmla="*/ 0 w 248"/>
              <a:gd name="T5" fmla="*/ 0 h 527"/>
              <a:gd name="T6" fmla="*/ 248 w 248"/>
              <a:gd name="T7" fmla="*/ 0 h 527"/>
              <a:gd name="T8" fmla="*/ 248 w 248"/>
              <a:gd name="T9" fmla="*/ 78 h 527"/>
              <a:gd name="T10" fmla="*/ 164 w 248"/>
              <a:gd name="T11" fmla="*/ 78 h 527"/>
              <a:gd name="T12" fmla="*/ 164 w 248"/>
              <a:gd name="T13" fmla="*/ 527 h 527"/>
              <a:gd name="T14" fmla="*/ 85 w 248"/>
              <a:gd name="T15" fmla="*/ 527 h 527"/>
              <a:gd name="T16" fmla="*/ 85 w 248"/>
              <a:gd name="T17" fmla="*/ 78 h 5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48" h="527">
                <a:moveTo>
                  <a:pt x="85" y="78"/>
                </a:moveTo>
                <a:lnTo>
                  <a:pt x="0" y="78"/>
                </a:lnTo>
                <a:lnTo>
                  <a:pt x="0" y="0"/>
                </a:lnTo>
                <a:lnTo>
                  <a:pt x="248" y="0"/>
                </a:lnTo>
                <a:lnTo>
                  <a:pt x="248" y="78"/>
                </a:lnTo>
                <a:lnTo>
                  <a:pt x="164" y="78"/>
                </a:lnTo>
                <a:lnTo>
                  <a:pt x="164" y="527"/>
                </a:lnTo>
                <a:lnTo>
                  <a:pt x="85" y="527"/>
                </a:lnTo>
                <a:lnTo>
                  <a:pt x="85" y="78"/>
                </a:lnTo>
                <a:close/>
              </a:path>
            </a:pathLst>
          </a:custGeom>
          <a:solidFill>
            <a:srgbClr val="32C3FF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bg1"/>
              </a:solidFill>
            </a:endParaRPr>
          </a:p>
        </p:txBody>
      </p:sp>
      <p:sp>
        <p:nvSpPr>
          <p:cNvPr id="7" name="Freeform 6"/>
          <p:cNvSpPr>
            <a:spLocks/>
          </p:cNvSpPr>
          <p:nvPr/>
        </p:nvSpPr>
        <p:spPr bwMode="auto">
          <a:xfrm>
            <a:off x="5307012" y="1374775"/>
            <a:ext cx="406400" cy="836613"/>
          </a:xfrm>
          <a:custGeom>
            <a:avLst/>
            <a:gdLst>
              <a:gd name="T0" fmla="*/ 79 w 256"/>
              <a:gd name="T1" fmla="*/ 304 h 527"/>
              <a:gd name="T2" fmla="*/ 79 w 256"/>
              <a:gd name="T3" fmla="*/ 527 h 527"/>
              <a:gd name="T4" fmla="*/ 0 w 256"/>
              <a:gd name="T5" fmla="*/ 527 h 527"/>
              <a:gd name="T6" fmla="*/ 0 w 256"/>
              <a:gd name="T7" fmla="*/ 0 h 527"/>
              <a:gd name="T8" fmla="*/ 79 w 256"/>
              <a:gd name="T9" fmla="*/ 0 h 527"/>
              <a:gd name="T10" fmla="*/ 79 w 256"/>
              <a:gd name="T11" fmla="*/ 223 h 527"/>
              <a:gd name="T12" fmla="*/ 177 w 256"/>
              <a:gd name="T13" fmla="*/ 223 h 527"/>
              <a:gd name="T14" fmla="*/ 177 w 256"/>
              <a:gd name="T15" fmla="*/ 0 h 527"/>
              <a:gd name="T16" fmla="*/ 256 w 256"/>
              <a:gd name="T17" fmla="*/ 0 h 527"/>
              <a:gd name="T18" fmla="*/ 256 w 256"/>
              <a:gd name="T19" fmla="*/ 527 h 527"/>
              <a:gd name="T20" fmla="*/ 177 w 256"/>
              <a:gd name="T21" fmla="*/ 527 h 527"/>
              <a:gd name="T22" fmla="*/ 177 w 256"/>
              <a:gd name="T23" fmla="*/ 304 h 527"/>
              <a:gd name="T24" fmla="*/ 79 w 256"/>
              <a:gd name="T25" fmla="*/ 304 h 5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56" h="527">
                <a:moveTo>
                  <a:pt x="79" y="304"/>
                </a:moveTo>
                <a:lnTo>
                  <a:pt x="79" y="527"/>
                </a:lnTo>
                <a:lnTo>
                  <a:pt x="0" y="527"/>
                </a:lnTo>
                <a:lnTo>
                  <a:pt x="0" y="0"/>
                </a:lnTo>
                <a:lnTo>
                  <a:pt x="79" y="0"/>
                </a:lnTo>
                <a:lnTo>
                  <a:pt x="79" y="223"/>
                </a:lnTo>
                <a:lnTo>
                  <a:pt x="177" y="223"/>
                </a:lnTo>
                <a:lnTo>
                  <a:pt x="177" y="0"/>
                </a:lnTo>
                <a:lnTo>
                  <a:pt x="256" y="0"/>
                </a:lnTo>
                <a:lnTo>
                  <a:pt x="256" y="527"/>
                </a:lnTo>
                <a:lnTo>
                  <a:pt x="177" y="527"/>
                </a:lnTo>
                <a:lnTo>
                  <a:pt x="177" y="304"/>
                </a:lnTo>
                <a:lnTo>
                  <a:pt x="79" y="304"/>
                </a:lnTo>
                <a:close/>
              </a:path>
            </a:pathLst>
          </a:custGeom>
          <a:solidFill>
            <a:srgbClr val="32C3FF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bg1"/>
              </a:solidFill>
            </a:endParaRPr>
          </a:p>
        </p:txBody>
      </p:sp>
      <p:sp>
        <p:nvSpPr>
          <p:cNvPr id="8" name="Freeform 7"/>
          <p:cNvSpPr>
            <a:spLocks noEditPoints="1"/>
          </p:cNvSpPr>
          <p:nvPr/>
        </p:nvSpPr>
        <p:spPr bwMode="auto">
          <a:xfrm>
            <a:off x="5818187" y="1374775"/>
            <a:ext cx="457200" cy="836613"/>
          </a:xfrm>
          <a:custGeom>
            <a:avLst/>
            <a:gdLst>
              <a:gd name="T0" fmla="*/ 104 w 288"/>
              <a:gd name="T1" fmla="*/ 405 h 527"/>
              <a:gd name="T2" fmla="*/ 83 w 288"/>
              <a:gd name="T3" fmla="*/ 527 h 527"/>
              <a:gd name="T4" fmla="*/ 0 w 288"/>
              <a:gd name="T5" fmla="*/ 527 h 527"/>
              <a:gd name="T6" fmla="*/ 90 w 288"/>
              <a:gd name="T7" fmla="*/ 0 h 527"/>
              <a:gd name="T8" fmla="*/ 199 w 288"/>
              <a:gd name="T9" fmla="*/ 0 h 527"/>
              <a:gd name="T10" fmla="*/ 288 w 288"/>
              <a:gd name="T11" fmla="*/ 527 h 527"/>
              <a:gd name="T12" fmla="*/ 205 w 288"/>
              <a:gd name="T13" fmla="*/ 527 h 527"/>
              <a:gd name="T14" fmla="*/ 186 w 288"/>
              <a:gd name="T15" fmla="*/ 405 h 527"/>
              <a:gd name="T16" fmla="*/ 104 w 288"/>
              <a:gd name="T17" fmla="*/ 405 h 527"/>
              <a:gd name="T18" fmla="*/ 145 w 288"/>
              <a:gd name="T19" fmla="*/ 120 h 527"/>
              <a:gd name="T20" fmla="*/ 115 w 288"/>
              <a:gd name="T21" fmla="*/ 328 h 527"/>
              <a:gd name="T22" fmla="*/ 175 w 288"/>
              <a:gd name="T23" fmla="*/ 328 h 527"/>
              <a:gd name="T24" fmla="*/ 145 w 288"/>
              <a:gd name="T25" fmla="*/ 120 h 5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8" h="527">
                <a:moveTo>
                  <a:pt x="104" y="405"/>
                </a:moveTo>
                <a:lnTo>
                  <a:pt x="83" y="527"/>
                </a:lnTo>
                <a:lnTo>
                  <a:pt x="0" y="527"/>
                </a:lnTo>
                <a:lnTo>
                  <a:pt x="90" y="0"/>
                </a:lnTo>
                <a:lnTo>
                  <a:pt x="199" y="0"/>
                </a:lnTo>
                <a:lnTo>
                  <a:pt x="288" y="527"/>
                </a:lnTo>
                <a:lnTo>
                  <a:pt x="205" y="527"/>
                </a:lnTo>
                <a:lnTo>
                  <a:pt x="186" y="405"/>
                </a:lnTo>
                <a:lnTo>
                  <a:pt x="104" y="405"/>
                </a:lnTo>
                <a:close/>
                <a:moveTo>
                  <a:pt x="145" y="120"/>
                </a:moveTo>
                <a:lnTo>
                  <a:pt x="115" y="328"/>
                </a:lnTo>
                <a:lnTo>
                  <a:pt x="175" y="328"/>
                </a:lnTo>
                <a:lnTo>
                  <a:pt x="145" y="120"/>
                </a:lnTo>
                <a:close/>
              </a:path>
            </a:pathLst>
          </a:custGeom>
          <a:solidFill>
            <a:srgbClr val="32C3FF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bg1"/>
              </a:solidFill>
            </a:endParaRPr>
          </a:p>
        </p:txBody>
      </p:sp>
      <p:sp>
        <p:nvSpPr>
          <p:cNvPr id="9" name="Freeform 8"/>
          <p:cNvSpPr>
            <a:spLocks/>
          </p:cNvSpPr>
          <p:nvPr/>
        </p:nvSpPr>
        <p:spPr bwMode="auto">
          <a:xfrm>
            <a:off x="6383337" y="1371600"/>
            <a:ext cx="434975" cy="839788"/>
          </a:xfrm>
          <a:custGeom>
            <a:avLst/>
            <a:gdLst>
              <a:gd name="T0" fmla="*/ 90 w 274"/>
              <a:gd name="T1" fmla="*/ 0 h 529"/>
              <a:gd name="T2" fmla="*/ 195 w 274"/>
              <a:gd name="T3" fmla="*/ 356 h 529"/>
              <a:gd name="T4" fmla="*/ 195 w 274"/>
              <a:gd name="T5" fmla="*/ 0 h 529"/>
              <a:gd name="T6" fmla="*/ 274 w 274"/>
              <a:gd name="T7" fmla="*/ 0 h 529"/>
              <a:gd name="T8" fmla="*/ 274 w 274"/>
              <a:gd name="T9" fmla="*/ 529 h 529"/>
              <a:gd name="T10" fmla="*/ 190 w 274"/>
              <a:gd name="T11" fmla="*/ 529 h 529"/>
              <a:gd name="T12" fmla="*/ 79 w 274"/>
              <a:gd name="T13" fmla="*/ 191 h 529"/>
              <a:gd name="T14" fmla="*/ 79 w 274"/>
              <a:gd name="T15" fmla="*/ 529 h 529"/>
              <a:gd name="T16" fmla="*/ 0 w 274"/>
              <a:gd name="T17" fmla="*/ 529 h 529"/>
              <a:gd name="T18" fmla="*/ 0 w 274"/>
              <a:gd name="T19" fmla="*/ 0 h 529"/>
              <a:gd name="T20" fmla="*/ 90 w 274"/>
              <a:gd name="T21" fmla="*/ 0 h 5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74" h="529">
                <a:moveTo>
                  <a:pt x="90" y="0"/>
                </a:moveTo>
                <a:lnTo>
                  <a:pt x="195" y="356"/>
                </a:lnTo>
                <a:lnTo>
                  <a:pt x="195" y="0"/>
                </a:lnTo>
                <a:lnTo>
                  <a:pt x="274" y="0"/>
                </a:lnTo>
                <a:lnTo>
                  <a:pt x="274" y="529"/>
                </a:lnTo>
                <a:lnTo>
                  <a:pt x="190" y="529"/>
                </a:lnTo>
                <a:lnTo>
                  <a:pt x="79" y="191"/>
                </a:lnTo>
                <a:lnTo>
                  <a:pt x="79" y="529"/>
                </a:lnTo>
                <a:lnTo>
                  <a:pt x="0" y="529"/>
                </a:lnTo>
                <a:lnTo>
                  <a:pt x="0" y="0"/>
                </a:lnTo>
                <a:lnTo>
                  <a:pt x="90" y="0"/>
                </a:lnTo>
                <a:close/>
              </a:path>
            </a:pathLst>
          </a:custGeom>
          <a:solidFill>
            <a:srgbClr val="32C3FF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bg1"/>
              </a:solidFill>
            </a:endParaRP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6932612" y="1371600"/>
            <a:ext cx="444500" cy="839788"/>
          </a:xfrm>
          <a:custGeom>
            <a:avLst/>
            <a:gdLst>
              <a:gd name="T0" fmla="*/ 79 w 280"/>
              <a:gd name="T1" fmla="*/ 362 h 529"/>
              <a:gd name="T2" fmla="*/ 79 w 280"/>
              <a:gd name="T3" fmla="*/ 529 h 529"/>
              <a:gd name="T4" fmla="*/ 0 w 280"/>
              <a:gd name="T5" fmla="*/ 529 h 529"/>
              <a:gd name="T6" fmla="*/ 0 w 280"/>
              <a:gd name="T7" fmla="*/ 0 h 529"/>
              <a:gd name="T8" fmla="*/ 79 w 280"/>
              <a:gd name="T9" fmla="*/ 0 h 529"/>
              <a:gd name="T10" fmla="*/ 79 w 280"/>
              <a:gd name="T11" fmla="*/ 189 h 529"/>
              <a:gd name="T12" fmla="*/ 177 w 280"/>
              <a:gd name="T13" fmla="*/ 0 h 529"/>
              <a:gd name="T14" fmla="*/ 261 w 280"/>
              <a:gd name="T15" fmla="*/ 0 h 529"/>
              <a:gd name="T16" fmla="*/ 152 w 280"/>
              <a:gd name="T17" fmla="*/ 216 h 529"/>
              <a:gd name="T18" fmla="*/ 280 w 280"/>
              <a:gd name="T19" fmla="*/ 529 h 529"/>
              <a:gd name="T20" fmla="*/ 188 w 280"/>
              <a:gd name="T21" fmla="*/ 529 h 529"/>
              <a:gd name="T22" fmla="*/ 103 w 280"/>
              <a:gd name="T23" fmla="*/ 315 h 529"/>
              <a:gd name="T24" fmla="*/ 79 w 280"/>
              <a:gd name="T25" fmla="*/ 362 h 5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0" h="529">
                <a:moveTo>
                  <a:pt x="79" y="362"/>
                </a:moveTo>
                <a:lnTo>
                  <a:pt x="79" y="529"/>
                </a:lnTo>
                <a:lnTo>
                  <a:pt x="0" y="529"/>
                </a:lnTo>
                <a:lnTo>
                  <a:pt x="0" y="0"/>
                </a:lnTo>
                <a:lnTo>
                  <a:pt x="79" y="0"/>
                </a:lnTo>
                <a:lnTo>
                  <a:pt x="79" y="189"/>
                </a:lnTo>
                <a:lnTo>
                  <a:pt x="177" y="0"/>
                </a:lnTo>
                <a:lnTo>
                  <a:pt x="261" y="0"/>
                </a:lnTo>
                <a:lnTo>
                  <a:pt x="152" y="216"/>
                </a:lnTo>
                <a:lnTo>
                  <a:pt x="280" y="529"/>
                </a:lnTo>
                <a:lnTo>
                  <a:pt x="188" y="529"/>
                </a:lnTo>
                <a:lnTo>
                  <a:pt x="103" y="315"/>
                </a:lnTo>
                <a:lnTo>
                  <a:pt x="79" y="362"/>
                </a:lnTo>
                <a:close/>
              </a:path>
            </a:pathLst>
          </a:custGeom>
          <a:solidFill>
            <a:srgbClr val="32C3FF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bg1"/>
              </a:solidFill>
            </a:endParaRPr>
          </a:p>
        </p:txBody>
      </p:sp>
      <p:sp>
        <p:nvSpPr>
          <p:cNvPr id="11" name="Freeform 10"/>
          <p:cNvSpPr>
            <a:spLocks/>
          </p:cNvSpPr>
          <p:nvPr/>
        </p:nvSpPr>
        <p:spPr bwMode="auto">
          <a:xfrm>
            <a:off x="4841875" y="2392363"/>
            <a:ext cx="815975" cy="1463675"/>
          </a:xfrm>
          <a:custGeom>
            <a:avLst/>
            <a:gdLst>
              <a:gd name="T0" fmla="*/ 188 w 514"/>
              <a:gd name="T1" fmla="*/ 535 h 922"/>
              <a:gd name="T2" fmla="*/ 0 w 514"/>
              <a:gd name="T3" fmla="*/ 0 h 922"/>
              <a:gd name="T4" fmla="*/ 154 w 514"/>
              <a:gd name="T5" fmla="*/ 0 h 922"/>
              <a:gd name="T6" fmla="*/ 258 w 514"/>
              <a:gd name="T7" fmla="*/ 331 h 922"/>
              <a:gd name="T8" fmla="*/ 359 w 514"/>
              <a:gd name="T9" fmla="*/ 0 h 922"/>
              <a:gd name="T10" fmla="*/ 514 w 514"/>
              <a:gd name="T11" fmla="*/ 0 h 922"/>
              <a:gd name="T12" fmla="*/ 327 w 514"/>
              <a:gd name="T13" fmla="*/ 535 h 922"/>
              <a:gd name="T14" fmla="*/ 327 w 514"/>
              <a:gd name="T15" fmla="*/ 922 h 922"/>
              <a:gd name="T16" fmla="*/ 188 w 514"/>
              <a:gd name="T17" fmla="*/ 922 h 922"/>
              <a:gd name="T18" fmla="*/ 188 w 514"/>
              <a:gd name="T19" fmla="*/ 535 h 9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4" h="922">
                <a:moveTo>
                  <a:pt x="188" y="535"/>
                </a:moveTo>
                <a:lnTo>
                  <a:pt x="0" y="0"/>
                </a:lnTo>
                <a:lnTo>
                  <a:pt x="154" y="0"/>
                </a:lnTo>
                <a:lnTo>
                  <a:pt x="258" y="331"/>
                </a:lnTo>
                <a:lnTo>
                  <a:pt x="359" y="0"/>
                </a:lnTo>
                <a:lnTo>
                  <a:pt x="514" y="0"/>
                </a:lnTo>
                <a:lnTo>
                  <a:pt x="327" y="535"/>
                </a:lnTo>
                <a:lnTo>
                  <a:pt x="327" y="922"/>
                </a:lnTo>
                <a:lnTo>
                  <a:pt x="188" y="922"/>
                </a:lnTo>
                <a:lnTo>
                  <a:pt x="188" y="53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accent4"/>
              </a:solidFill>
            </a:endParaRPr>
          </a:p>
        </p:txBody>
      </p:sp>
      <p:sp>
        <p:nvSpPr>
          <p:cNvPr id="12" name="Freeform 11"/>
          <p:cNvSpPr>
            <a:spLocks noEditPoints="1"/>
          </p:cNvSpPr>
          <p:nvPr/>
        </p:nvSpPr>
        <p:spPr bwMode="auto">
          <a:xfrm>
            <a:off x="5753100" y="2374900"/>
            <a:ext cx="701675" cy="1498600"/>
          </a:xfrm>
          <a:custGeom>
            <a:avLst/>
            <a:gdLst>
              <a:gd name="T0" fmla="*/ 118 w 235"/>
              <a:gd name="T1" fmla="*/ 0 h 503"/>
              <a:gd name="T2" fmla="*/ 201 w 235"/>
              <a:gd name="T3" fmla="*/ 34 h 503"/>
              <a:gd name="T4" fmla="*/ 235 w 235"/>
              <a:gd name="T5" fmla="*/ 117 h 503"/>
              <a:gd name="T6" fmla="*/ 235 w 235"/>
              <a:gd name="T7" fmla="*/ 385 h 503"/>
              <a:gd name="T8" fmla="*/ 201 w 235"/>
              <a:gd name="T9" fmla="*/ 469 h 503"/>
              <a:gd name="T10" fmla="*/ 118 w 235"/>
              <a:gd name="T11" fmla="*/ 503 h 503"/>
              <a:gd name="T12" fmla="*/ 34 w 235"/>
              <a:gd name="T13" fmla="*/ 469 h 503"/>
              <a:gd name="T14" fmla="*/ 0 w 235"/>
              <a:gd name="T15" fmla="*/ 385 h 503"/>
              <a:gd name="T16" fmla="*/ 0 w 235"/>
              <a:gd name="T17" fmla="*/ 117 h 503"/>
              <a:gd name="T18" fmla="*/ 35 w 235"/>
              <a:gd name="T19" fmla="*/ 34 h 503"/>
              <a:gd name="T20" fmla="*/ 118 w 235"/>
              <a:gd name="T21" fmla="*/ 0 h 503"/>
              <a:gd name="T22" fmla="*/ 158 w 235"/>
              <a:gd name="T23" fmla="*/ 116 h 503"/>
              <a:gd name="T24" fmla="*/ 146 w 235"/>
              <a:gd name="T25" fmla="*/ 86 h 503"/>
              <a:gd name="T26" fmla="*/ 116 w 235"/>
              <a:gd name="T27" fmla="*/ 73 h 503"/>
              <a:gd name="T28" fmla="*/ 85 w 235"/>
              <a:gd name="T29" fmla="*/ 86 h 503"/>
              <a:gd name="T30" fmla="*/ 73 w 235"/>
              <a:gd name="T31" fmla="*/ 116 h 503"/>
              <a:gd name="T32" fmla="*/ 73 w 235"/>
              <a:gd name="T33" fmla="*/ 385 h 503"/>
              <a:gd name="T34" fmla="*/ 85 w 235"/>
              <a:gd name="T35" fmla="*/ 415 h 503"/>
              <a:gd name="T36" fmla="*/ 116 w 235"/>
              <a:gd name="T37" fmla="*/ 427 h 503"/>
              <a:gd name="T38" fmla="*/ 146 w 235"/>
              <a:gd name="T39" fmla="*/ 415 h 503"/>
              <a:gd name="T40" fmla="*/ 158 w 235"/>
              <a:gd name="T41" fmla="*/ 385 h 503"/>
              <a:gd name="T42" fmla="*/ 158 w 235"/>
              <a:gd name="T43" fmla="*/ 116 h 5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35" h="503">
                <a:moveTo>
                  <a:pt x="118" y="0"/>
                </a:moveTo>
                <a:cubicBezTo>
                  <a:pt x="150" y="0"/>
                  <a:pt x="178" y="11"/>
                  <a:pt x="201" y="34"/>
                </a:cubicBezTo>
                <a:cubicBezTo>
                  <a:pt x="224" y="57"/>
                  <a:pt x="235" y="85"/>
                  <a:pt x="235" y="117"/>
                </a:cubicBezTo>
                <a:cubicBezTo>
                  <a:pt x="235" y="385"/>
                  <a:pt x="235" y="385"/>
                  <a:pt x="235" y="385"/>
                </a:cubicBezTo>
                <a:cubicBezTo>
                  <a:pt x="235" y="418"/>
                  <a:pt x="224" y="446"/>
                  <a:pt x="201" y="469"/>
                </a:cubicBezTo>
                <a:cubicBezTo>
                  <a:pt x="178" y="492"/>
                  <a:pt x="150" y="503"/>
                  <a:pt x="118" y="503"/>
                </a:cubicBezTo>
                <a:cubicBezTo>
                  <a:pt x="85" y="503"/>
                  <a:pt x="57" y="492"/>
                  <a:pt x="34" y="469"/>
                </a:cubicBezTo>
                <a:cubicBezTo>
                  <a:pt x="12" y="446"/>
                  <a:pt x="0" y="418"/>
                  <a:pt x="0" y="385"/>
                </a:cubicBezTo>
                <a:cubicBezTo>
                  <a:pt x="0" y="117"/>
                  <a:pt x="0" y="117"/>
                  <a:pt x="0" y="117"/>
                </a:cubicBezTo>
                <a:cubicBezTo>
                  <a:pt x="0" y="85"/>
                  <a:pt x="12" y="57"/>
                  <a:pt x="35" y="34"/>
                </a:cubicBezTo>
                <a:cubicBezTo>
                  <a:pt x="58" y="11"/>
                  <a:pt x="85" y="0"/>
                  <a:pt x="118" y="0"/>
                </a:cubicBezTo>
                <a:close/>
                <a:moveTo>
                  <a:pt x="158" y="116"/>
                </a:moveTo>
                <a:cubicBezTo>
                  <a:pt x="158" y="104"/>
                  <a:pt x="154" y="94"/>
                  <a:pt x="146" y="86"/>
                </a:cubicBezTo>
                <a:cubicBezTo>
                  <a:pt x="137" y="78"/>
                  <a:pt x="127" y="73"/>
                  <a:pt x="116" y="73"/>
                </a:cubicBezTo>
                <a:cubicBezTo>
                  <a:pt x="104" y="73"/>
                  <a:pt x="94" y="78"/>
                  <a:pt x="85" y="86"/>
                </a:cubicBezTo>
                <a:cubicBezTo>
                  <a:pt x="77" y="94"/>
                  <a:pt x="73" y="104"/>
                  <a:pt x="73" y="116"/>
                </a:cubicBezTo>
                <a:cubicBezTo>
                  <a:pt x="73" y="385"/>
                  <a:pt x="73" y="385"/>
                  <a:pt x="73" y="385"/>
                </a:cubicBezTo>
                <a:cubicBezTo>
                  <a:pt x="73" y="396"/>
                  <a:pt x="77" y="406"/>
                  <a:pt x="85" y="415"/>
                </a:cubicBezTo>
                <a:cubicBezTo>
                  <a:pt x="94" y="423"/>
                  <a:pt x="104" y="427"/>
                  <a:pt x="116" y="427"/>
                </a:cubicBezTo>
                <a:cubicBezTo>
                  <a:pt x="127" y="427"/>
                  <a:pt x="137" y="423"/>
                  <a:pt x="146" y="415"/>
                </a:cubicBezTo>
                <a:cubicBezTo>
                  <a:pt x="154" y="406"/>
                  <a:pt x="158" y="396"/>
                  <a:pt x="158" y="385"/>
                </a:cubicBezTo>
                <a:lnTo>
                  <a:pt x="158" y="11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accent4"/>
              </a:solidFill>
            </a:endParaRPr>
          </a:p>
        </p:txBody>
      </p:sp>
      <p:sp>
        <p:nvSpPr>
          <p:cNvPr id="13" name="Freeform 12"/>
          <p:cNvSpPr>
            <a:spLocks/>
          </p:cNvSpPr>
          <p:nvPr/>
        </p:nvSpPr>
        <p:spPr bwMode="auto">
          <a:xfrm>
            <a:off x="6645275" y="2392363"/>
            <a:ext cx="701675" cy="1481138"/>
          </a:xfrm>
          <a:custGeom>
            <a:avLst/>
            <a:gdLst>
              <a:gd name="T0" fmla="*/ 118 w 235"/>
              <a:gd name="T1" fmla="*/ 497 h 497"/>
              <a:gd name="T2" fmla="*/ 35 w 235"/>
              <a:gd name="T3" fmla="*/ 463 h 497"/>
              <a:gd name="T4" fmla="*/ 0 w 235"/>
              <a:gd name="T5" fmla="*/ 380 h 497"/>
              <a:gd name="T6" fmla="*/ 0 w 235"/>
              <a:gd name="T7" fmla="*/ 0 h 497"/>
              <a:gd name="T8" fmla="*/ 73 w 235"/>
              <a:gd name="T9" fmla="*/ 0 h 497"/>
              <a:gd name="T10" fmla="*/ 73 w 235"/>
              <a:gd name="T11" fmla="*/ 379 h 497"/>
              <a:gd name="T12" fmla="*/ 86 w 235"/>
              <a:gd name="T13" fmla="*/ 409 h 497"/>
              <a:gd name="T14" fmla="*/ 116 w 235"/>
              <a:gd name="T15" fmla="*/ 421 h 497"/>
              <a:gd name="T16" fmla="*/ 146 w 235"/>
              <a:gd name="T17" fmla="*/ 409 h 497"/>
              <a:gd name="T18" fmla="*/ 158 w 235"/>
              <a:gd name="T19" fmla="*/ 379 h 497"/>
              <a:gd name="T20" fmla="*/ 158 w 235"/>
              <a:gd name="T21" fmla="*/ 0 h 497"/>
              <a:gd name="T22" fmla="*/ 235 w 235"/>
              <a:gd name="T23" fmla="*/ 0 h 497"/>
              <a:gd name="T24" fmla="*/ 235 w 235"/>
              <a:gd name="T25" fmla="*/ 380 h 497"/>
              <a:gd name="T26" fmla="*/ 201 w 235"/>
              <a:gd name="T27" fmla="*/ 463 h 497"/>
              <a:gd name="T28" fmla="*/ 118 w 235"/>
              <a:gd name="T29" fmla="*/ 497 h 4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35" h="497">
                <a:moveTo>
                  <a:pt x="118" y="497"/>
                </a:moveTo>
                <a:cubicBezTo>
                  <a:pt x="85" y="497"/>
                  <a:pt x="57" y="485"/>
                  <a:pt x="35" y="463"/>
                </a:cubicBezTo>
                <a:cubicBezTo>
                  <a:pt x="12" y="440"/>
                  <a:pt x="0" y="412"/>
                  <a:pt x="0" y="380"/>
                </a:cubicBezTo>
                <a:cubicBezTo>
                  <a:pt x="0" y="0"/>
                  <a:pt x="0" y="0"/>
                  <a:pt x="0" y="0"/>
                </a:cubicBezTo>
                <a:cubicBezTo>
                  <a:pt x="73" y="0"/>
                  <a:pt x="73" y="0"/>
                  <a:pt x="73" y="0"/>
                </a:cubicBezTo>
                <a:cubicBezTo>
                  <a:pt x="73" y="379"/>
                  <a:pt x="73" y="379"/>
                  <a:pt x="73" y="379"/>
                </a:cubicBezTo>
                <a:cubicBezTo>
                  <a:pt x="73" y="391"/>
                  <a:pt x="77" y="401"/>
                  <a:pt x="86" y="409"/>
                </a:cubicBezTo>
                <a:cubicBezTo>
                  <a:pt x="94" y="417"/>
                  <a:pt x="104" y="421"/>
                  <a:pt x="116" y="421"/>
                </a:cubicBezTo>
                <a:cubicBezTo>
                  <a:pt x="127" y="421"/>
                  <a:pt x="137" y="417"/>
                  <a:pt x="146" y="409"/>
                </a:cubicBezTo>
                <a:cubicBezTo>
                  <a:pt x="154" y="401"/>
                  <a:pt x="158" y="391"/>
                  <a:pt x="158" y="379"/>
                </a:cubicBezTo>
                <a:cubicBezTo>
                  <a:pt x="158" y="0"/>
                  <a:pt x="158" y="0"/>
                  <a:pt x="158" y="0"/>
                </a:cubicBezTo>
                <a:cubicBezTo>
                  <a:pt x="235" y="0"/>
                  <a:pt x="235" y="0"/>
                  <a:pt x="235" y="0"/>
                </a:cubicBezTo>
                <a:cubicBezTo>
                  <a:pt x="235" y="380"/>
                  <a:pt x="235" y="380"/>
                  <a:pt x="235" y="380"/>
                </a:cubicBezTo>
                <a:cubicBezTo>
                  <a:pt x="235" y="413"/>
                  <a:pt x="224" y="441"/>
                  <a:pt x="201" y="463"/>
                </a:cubicBezTo>
                <a:cubicBezTo>
                  <a:pt x="178" y="485"/>
                  <a:pt x="150" y="497"/>
                  <a:pt x="118" y="49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5508558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/>
        </p:nvSpPr>
        <p:spPr>
          <a:xfrm>
            <a:off x="0" y="-24788"/>
            <a:ext cx="12188825" cy="2996588"/>
          </a:xfrm>
          <a:prstGeom prst="rect">
            <a:avLst/>
          </a:prstGeom>
          <a:solidFill>
            <a:srgbClr val="32C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IN" dirty="0">
                <a:solidFill>
                  <a:schemeClr val="bg1"/>
                </a:solidFill>
                <a:latin typeface="Arial" panose="020B0604020202020204" pitchFamily="34" charset="0"/>
              </a:rPr>
              <a:t>Our Team </a:t>
            </a:r>
          </a:p>
        </p:txBody>
      </p:sp>
      <p:sp>
        <p:nvSpPr>
          <p:cNvPr id="3" name="Oval 2"/>
          <p:cNvSpPr/>
          <p:nvPr/>
        </p:nvSpPr>
        <p:spPr>
          <a:xfrm>
            <a:off x="2038802" y="1956536"/>
            <a:ext cx="1923784" cy="1923784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53975">
            <a:solidFill>
              <a:srgbClr val="32C3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7" name="Oval 6"/>
          <p:cNvSpPr/>
          <p:nvPr/>
        </p:nvSpPr>
        <p:spPr>
          <a:xfrm>
            <a:off x="8139020" y="1956536"/>
            <a:ext cx="1923784" cy="192378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 w="53975">
            <a:solidFill>
              <a:srgbClr val="32C3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" name="TextBox 8"/>
          <p:cNvSpPr txBox="1"/>
          <p:nvPr/>
        </p:nvSpPr>
        <p:spPr>
          <a:xfrm>
            <a:off x="1773876" y="4579753"/>
            <a:ext cx="245363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kern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Analyst Wannabe</a:t>
            </a:r>
            <a:r>
              <a:rPr lang="en-US" sz="1400" kern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ata-driven and creative in the face of uncertainty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964377" y="4118248"/>
            <a:ext cx="20726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lipe Hayashi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075612" y="4580957"/>
            <a:ext cx="214902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kern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y Engineer,</a:t>
            </a:r>
          </a:p>
          <a:p>
            <a:pPr algn="ctr"/>
            <a:r>
              <a:rPr lang="en-US" sz="1400" kern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nt to contribute in the energy transitio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075612" y="4118248"/>
            <a:ext cx="20726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nders </a:t>
            </a:r>
            <a:r>
              <a:rPr lang="en-US" sz="20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os</a:t>
            </a:r>
            <a:endParaRPr lang="en-US" sz="2000" kern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74" name="Picture 2" descr="Flag of Brazil">
            <a:extLst>
              <a:ext uri="{FF2B5EF4-FFF2-40B4-BE49-F238E27FC236}">
                <a16:creationId xmlns:a16="http://schemas.microsoft.com/office/drawing/2014/main" id="{6A63DF82-FE47-42CD-BC00-CFE829C300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7145" y="2403034"/>
            <a:ext cx="812467" cy="568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Bandeira dos Países Baixos">
            <a:extLst>
              <a:ext uri="{FF2B5EF4-FFF2-40B4-BE49-F238E27FC236}">
                <a16:creationId xmlns:a16="http://schemas.microsoft.com/office/drawing/2014/main" id="{C847E784-7A1F-438E-8100-EFE579200F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7412" y="2402077"/>
            <a:ext cx="854583" cy="569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322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88825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66000"/>
                </a:schemeClr>
              </a:gs>
              <a:gs pos="100000">
                <a:srgbClr val="32C3FF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solidFill>
                  <a:schemeClr val="bg1"/>
                </a:solidFill>
                <a:latin typeface="Arial" panose="020B0604020202020204" pitchFamily="34" charset="0"/>
              </a:rPr>
              <a:t>Agenda</a:t>
            </a:r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469298" y="1828800"/>
            <a:ext cx="7250228" cy="414575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500"/>
              </a:spcBef>
              <a:spcAft>
                <a:spcPts val="1500"/>
              </a:spcAft>
              <a:buSzPct val="100000"/>
            </a:pPr>
            <a:r>
              <a:rPr lang="en-US" sz="1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– Executive Summary</a:t>
            </a:r>
          </a:p>
          <a:p>
            <a:pPr algn="ctr">
              <a:lnSpc>
                <a:spcPct val="90000"/>
              </a:lnSpc>
              <a:spcBef>
                <a:spcPts val="1500"/>
              </a:spcBef>
              <a:spcAft>
                <a:spcPts val="1500"/>
              </a:spcAft>
              <a:buSzPct val="100000"/>
            </a:pPr>
            <a:r>
              <a:rPr lang="en-US" sz="1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– Data sources</a:t>
            </a:r>
          </a:p>
          <a:p>
            <a:pPr algn="ctr">
              <a:lnSpc>
                <a:spcPct val="90000"/>
              </a:lnSpc>
              <a:spcBef>
                <a:spcPts val="1500"/>
              </a:spcBef>
              <a:spcAft>
                <a:spcPts val="1500"/>
              </a:spcAft>
              <a:buSzPct val="100000"/>
            </a:pPr>
            <a:r>
              <a:rPr lang="en-US" sz="1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– Data Wrangling</a:t>
            </a:r>
            <a:endParaRPr lang="en-US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spcBef>
                <a:spcPts val="1500"/>
              </a:spcBef>
              <a:spcAft>
                <a:spcPts val="1500"/>
              </a:spcAft>
              <a:buSzPct val="100000"/>
            </a:pPr>
            <a:r>
              <a:rPr lang="en-US" sz="1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– Main Insights</a:t>
            </a:r>
          </a:p>
          <a:p>
            <a:pPr algn="ctr">
              <a:lnSpc>
                <a:spcPct val="90000"/>
              </a:lnSpc>
              <a:spcBef>
                <a:spcPts val="1500"/>
              </a:spcBef>
              <a:spcAft>
                <a:spcPts val="1500"/>
              </a:spcAft>
              <a:buSzPct val="100000"/>
            </a:pPr>
            <a:r>
              <a:rPr lang="en-US" sz="1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– Unanswered Questions &amp; Challenges</a:t>
            </a:r>
          </a:p>
          <a:p>
            <a:pPr algn="ctr">
              <a:lnSpc>
                <a:spcPct val="90000"/>
              </a:lnSpc>
              <a:spcBef>
                <a:spcPts val="1500"/>
              </a:spcBef>
              <a:spcAft>
                <a:spcPts val="1500"/>
              </a:spcAft>
              <a:buSzPct val="100000"/>
            </a:pPr>
            <a:r>
              <a:rPr lang="en-US" sz="1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– Main learnings</a:t>
            </a:r>
          </a:p>
          <a:p>
            <a:pPr algn="ctr">
              <a:lnSpc>
                <a:spcPct val="90000"/>
              </a:lnSpc>
              <a:spcBef>
                <a:spcPts val="1500"/>
              </a:spcBef>
              <a:spcAft>
                <a:spcPts val="1500"/>
              </a:spcAft>
              <a:buSzPct val="100000"/>
            </a:pPr>
            <a:endParaRPr lang="en-US" sz="18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2569579" y="1656202"/>
            <a:ext cx="7149947" cy="2544897"/>
            <a:chOff x="2569579" y="2291508"/>
            <a:chExt cx="7149947" cy="2544897"/>
          </a:xfrm>
        </p:grpSpPr>
        <p:cxnSp>
          <p:nvCxnSpPr>
            <p:cNvPr id="10" name="Straight Connector 9"/>
            <p:cNvCxnSpPr/>
            <p:nvPr/>
          </p:nvCxnSpPr>
          <p:spPr>
            <a:xfrm>
              <a:off x="2569579" y="2291508"/>
              <a:ext cx="7149947" cy="0"/>
            </a:xfrm>
            <a:prstGeom prst="line">
              <a:avLst/>
            </a:prstGeom>
            <a:ln>
              <a:solidFill>
                <a:schemeClr val="bg1">
                  <a:alpha val="27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2569579" y="2930486"/>
              <a:ext cx="7149947" cy="0"/>
            </a:xfrm>
            <a:prstGeom prst="line">
              <a:avLst/>
            </a:prstGeom>
            <a:ln>
              <a:solidFill>
                <a:schemeClr val="bg1">
                  <a:alpha val="27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2569579" y="3558448"/>
              <a:ext cx="7149947" cy="0"/>
            </a:xfrm>
            <a:prstGeom prst="line">
              <a:avLst/>
            </a:prstGeom>
            <a:ln>
              <a:solidFill>
                <a:schemeClr val="bg1">
                  <a:alpha val="27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2569579" y="4186409"/>
              <a:ext cx="7149947" cy="0"/>
            </a:xfrm>
            <a:prstGeom prst="line">
              <a:avLst/>
            </a:prstGeom>
            <a:ln>
              <a:solidFill>
                <a:schemeClr val="bg1">
                  <a:alpha val="27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>
              <a:off x="2569579" y="4836405"/>
              <a:ext cx="7149947" cy="0"/>
            </a:xfrm>
            <a:prstGeom prst="line">
              <a:avLst/>
            </a:prstGeom>
            <a:ln>
              <a:solidFill>
                <a:schemeClr val="bg1">
                  <a:alpha val="27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8">
            <a:extLst>
              <a:ext uri="{FF2B5EF4-FFF2-40B4-BE49-F238E27FC236}">
                <a16:creationId xmlns:a16="http://schemas.microsoft.com/office/drawing/2014/main" id="{E38FF162-3252-4255-9FA6-9632E0A52E65}"/>
              </a:ext>
            </a:extLst>
          </p:cNvPr>
          <p:cNvGrpSpPr/>
          <p:nvPr/>
        </p:nvGrpSpPr>
        <p:grpSpPr>
          <a:xfrm>
            <a:off x="2569579" y="2923142"/>
            <a:ext cx="7149947" cy="2544897"/>
            <a:chOff x="2569579" y="2291508"/>
            <a:chExt cx="7149947" cy="2544897"/>
          </a:xfrm>
        </p:grpSpPr>
        <p:cxnSp>
          <p:nvCxnSpPr>
            <p:cNvPr id="17" name="Straight Connector 9">
              <a:extLst>
                <a:ext uri="{FF2B5EF4-FFF2-40B4-BE49-F238E27FC236}">
                  <a16:creationId xmlns:a16="http://schemas.microsoft.com/office/drawing/2014/main" id="{E7C1C0C8-4E95-472A-B5B1-0A3729CAFF53}"/>
                </a:ext>
              </a:extLst>
            </p:cNvPr>
            <p:cNvCxnSpPr/>
            <p:nvPr/>
          </p:nvCxnSpPr>
          <p:spPr>
            <a:xfrm>
              <a:off x="2569579" y="2291508"/>
              <a:ext cx="7149947" cy="0"/>
            </a:xfrm>
            <a:prstGeom prst="line">
              <a:avLst/>
            </a:prstGeom>
            <a:ln>
              <a:solidFill>
                <a:schemeClr val="bg1">
                  <a:alpha val="27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1">
              <a:extLst>
                <a:ext uri="{FF2B5EF4-FFF2-40B4-BE49-F238E27FC236}">
                  <a16:creationId xmlns:a16="http://schemas.microsoft.com/office/drawing/2014/main" id="{71ED1D84-E7DF-46E8-AF0D-3AA87BF5A890}"/>
                </a:ext>
              </a:extLst>
            </p:cNvPr>
            <p:cNvCxnSpPr/>
            <p:nvPr/>
          </p:nvCxnSpPr>
          <p:spPr>
            <a:xfrm>
              <a:off x="2569579" y="2930486"/>
              <a:ext cx="7149947" cy="0"/>
            </a:xfrm>
            <a:prstGeom prst="line">
              <a:avLst/>
            </a:prstGeom>
            <a:ln>
              <a:solidFill>
                <a:schemeClr val="bg1">
                  <a:alpha val="27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2">
              <a:extLst>
                <a:ext uri="{FF2B5EF4-FFF2-40B4-BE49-F238E27FC236}">
                  <a16:creationId xmlns:a16="http://schemas.microsoft.com/office/drawing/2014/main" id="{43385336-80B5-4C10-9643-C84EAE99CA23}"/>
                </a:ext>
              </a:extLst>
            </p:cNvPr>
            <p:cNvCxnSpPr/>
            <p:nvPr/>
          </p:nvCxnSpPr>
          <p:spPr>
            <a:xfrm>
              <a:off x="2569579" y="3558448"/>
              <a:ext cx="7149947" cy="0"/>
            </a:xfrm>
            <a:prstGeom prst="line">
              <a:avLst/>
            </a:prstGeom>
            <a:ln>
              <a:solidFill>
                <a:schemeClr val="bg1">
                  <a:alpha val="27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3">
              <a:extLst>
                <a:ext uri="{FF2B5EF4-FFF2-40B4-BE49-F238E27FC236}">
                  <a16:creationId xmlns:a16="http://schemas.microsoft.com/office/drawing/2014/main" id="{4457E7AE-AE2C-4E57-B836-0F1DD908F451}"/>
                </a:ext>
              </a:extLst>
            </p:cNvPr>
            <p:cNvCxnSpPr/>
            <p:nvPr/>
          </p:nvCxnSpPr>
          <p:spPr>
            <a:xfrm>
              <a:off x="2569579" y="4186409"/>
              <a:ext cx="7149947" cy="0"/>
            </a:xfrm>
            <a:prstGeom prst="line">
              <a:avLst/>
            </a:prstGeom>
            <a:ln>
              <a:solidFill>
                <a:schemeClr val="bg1">
                  <a:alpha val="27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14">
              <a:extLst>
                <a:ext uri="{FF2B5EF4-FFF2-40B4-BE49-F238E27FC236}">
                  <a16:creationId xmlns:a16="http://schemas.microsoft.com/office/drawing/2014/main" id="{56B206C0-4EB9-43CC-9DC1-4FE4F2AF1067}"/>
                </a:ext>
              </a:extLst>
            </p:cNvPr>
            <p:cNvCxnSpPr/>
            <p:nvPr/>
          </p:nvCxnSpPr>
          <p:spPr>
            <a:xfrm>
              <a:off x="2569579" y="4836405"/>
              <a:ext cx="7149947" cy="0"/>
            </a:xfrm>
            <a:prstGeom prst="line">
              <a:avLst/>
            </a:prstGeom>
            <a:ln>
              <a:solidFill>
                <a:schemeClr val="bg1">
                  <a:alpha val="27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29281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2C3FF"/>
            </a:gs>
            <a:gs pos="10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866437" y="922405"/>
            <a:ext cx="4237375" cy="1865126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1" i="0" u="none" strike="noStrike" kern="1200" cap="none" spc="-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ecutive </a:t>
            </a:r>
          </a:p>
          <a:p>
            <a:pPr marL="0" marR="0" lvl="0" indent="0" algn="l" defTabSz="121898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1" i="0" u="none" strike="noStrike" kern="1200" cap="none" spc="-300" normalizeH="0" baseline="0" noProof="0" dirty="0">
                <a:ln>
                  <a:noFill/>
                </a:ln>
                <a:solidFill>
                  <a:srgbClr val="5359A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mmary</a:t>
            </a:r>
            <a:endParaRPr kumimoji="0" lang="en-IN" sz="7200" b="1" i="0" u="none" strike="noStrike" kern="1200" cap="none" spc="-300" normalizeH="0" baseline="0" noProof="0" dirty="0">
              <a:ln>
                <a:noFill/>
              </a:ln>
              <a:solidFill>
                <a:srgbClr val="5359A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66437" y="2986314"/>
            <a:ext cx="43897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ur </a:t>
            </a:r>
            <a:r>
              <a:rPr lang="en-US" sz="20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in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goal is to practice a thorough Data-Analysis workflow, which involves: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01289" y="665205"/>
            <a:ext cx="46919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- Data Sources</a:t>
            </a:r>
            <a:endParaRPr kumimoji="0" lang="en-IN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401289" y="1986256"/>
            <a:ext cx="44633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 - Data Wrangling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7401289" y="3294090"/>
            <a:ext cx="4114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 - Insight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7401289" y="4463319"/>
            <a:ext cx="4114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 - Identifying Challenges/Next </a:t>
            </a:r>
            <a:r>
              <a:rPr lang="en-IN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kumimoji="0" lang="en-IN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ps</a:t>
            </a:r>
            <a:endParaRPr kumimoji="0" lang="en-IN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4937087D-CADD-42AB-A88F-8DAFFA0B7EF5}"/>
              </a:ext>
            </a:extLst>
          </p:cNvPr>
          <p:cNvGrpSpPr/>
          <p:nvPr/>
        </p:nvGrpSpPr>
        <p:grpSpPr>
          <a:xfrm>
            <a:off x="6172360" y="364517"/>
            <a:ext cx="1001486" cy="1001486"/>
            <a:chOff x="6172360" y="364517"/>
            <a:chExt cx="1001486" cy="1001486"/>
          </a:xfrm>
        </p:grpSpPr>
        <p:sp>
          <p:nvSpPr>
            <p:cNvPr id="3" name="Oval 2"/>
            <p:cNvSpPr/>
            <p:nvPr/>
          </p:nvSpPr>
          <p:spPr>
            <a:xfrm>
              <a:off x="6172360" y="364517"/>
              <a:ext cx="1001486" cy="1001486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2050" name="Picture 2" descr="data source Icon 1630980">
              <a:extLst>
                <a:ext uri="{FF2B5EF4-FFF2-40B4-BE49-F238E27FC236}">
                  <a16:creationId xmlns:a16="http://schemas.microsoft.com/office/drawing/2014/main" id="{71F25A4F-F2F2-46DE-A2D6-92194C669C7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06403" y="598560"/>
              <a:ext cx="533400" cy="533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" name="Grupo 11">
            <a:extLst>
              <a:ext uri="{FF2B5EF4-FFF2-40B4-BE49-F238E27FC236}">
                <a16:creationId xmlns:a16="http://schemas.microsoft.com/office/drawing/2014/main" id="{3C4DE00C-9C8E-4C45-9E9A-8499D6EE72DB}"/>
              </a:ext>
            </a:extLst>
          </p:cNvPr>
          <p:cNvGrpSpPr/>
          <p:nvPr/>
        </p:nvGrpSpPr>
        <p:grpSpPr>
          <a:xfrm>
            <a:off x="6172360" y="1681851"/>
            <a:ext cx="1001486" cy="1001486"/>
            <a:chOff x="6172360" y="1709508"/>
            <a:chExt cx="1001486" cy="1001486"/>
          </a:xfrm>
        </p:grpSpPr>
        <p:sp>
          <p:nvSpPr>
            <p:cNvPr id="4" name="Oval 3"/>
            <p:cNvSpPr/>
            <p:nvPr/>
          </p:nvSpPr>
          <p:spPr>
            <a:xfrm>
              <a:off x="6172360" y="1709508"/>
              <a:ext cx="1001486" cy="1001486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2052" name="Picture 4" descr="Data transformation Icon 986782">
              <a:extLst>
                <a:ext uri="{FF2B5EF4-FFF2-40B4-BE49-F238E27FC236}">
                  <a16:creationId xmlns:a16="http://schemas.microsoft.com/office/drawing/2014/main" id="{35BFAC19-F3D2-467F-97E6-494BA1D721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03103" y="1940251"/>
              <a:ext cx="540000" cy="5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upo 6">
            <a:extLst>
              <a:ext uri="{FF2B5EF4-FFF2-40B4-BE49-F238E27FC236}">
                <a16:creationId xmlns:a16="http://schemas.microsoft.com/office/drawing/2014/main" id="{D99FB4B3-E6E4-409E-823C-CABD00D82264}"/>
              </a:ext>
            </a:extLst>
          </p:cNvPr>
          <p:cNvGrpSpPr/>
          <p:nvPr/>
        </p:nvGrpSpPr>
        <p:grpSpPr>
          <a:xfrm>
            <a:off x="6172360" y="2999185"/>
            <a:ext cx="1001486" cy="1001486"/>
            <a:chOff x="6172360" y="3054499"/>
            <a:chExt cx="1001486" cy="1001486"/>
          </a:xfrm>
        </p:grpSpPr>
        <p:sp>
          <p:nvSpPr>
            <p:cNvPr id="5" name="Oval 4"/>
            <p:cNvSpPr/>
            <p:nvPr/>
          </p:nvSpPr>
          <p:spPr>
            <a:xfrm>
              <a:off x="6172360" y="3054499"/>
              <a:ext cx="1001486" cy="1001486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2054" name="Picture 6" descr="Idea Icon 1754160">
              <a:extLst>
                <a:ext uri="{FF2B5EF4-FFF2-40B4-BE49-F238E27FC236}">
                  <a16:creationId xmlns:a16="http://schemas.microsoft.com/office/drawing/2014/main" id="{7FF1576C-61B5-42E1-BF71-AC458C11698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Photocopy/>
                      </a14:imgEffect>
                      <a14:imgEffect>
                        <a14:colorTemperature colorTemp="53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34772" y="3285242"/>
              <a:ext cx="540000" cy="5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" name="Grupo 1">
            <a:extLst>
              <a:ext uri="{FF2B5EF4-FFF2-40B4-BE49-F238E27FC236}">
                <a16:creationId xmlns:a16="http://schemas.microsoft.com/office/drawing/2014/main" id="{5FDFEF9D-0B63-457A-A3E6-0F9162A8DDA2}"/>
              </a:ext>
            </a:extLst>
          </p:cNvPr>
          <p:cNvGrpSpPr/>
          <p:nvPr/>
        </p:nvGrpSpPr>
        <p:grpSpPr>
          <a:xfrm>
            <a:off x="6172360" y="4316519"/>
            <a:ext cx="1001486" cy="1001486"/>
            <a:chOff x="6172360" y="4401626"/>
            <a:chExt cx="1001486" cy="1001486"/>
          </a:xfrm>
        </p:grpSpPr>
        <p:sp>
          <p:nvSpPr>
            <p:cNvPr id="6" name="Oval 5"/>
            <p:cNvSpPr/>
            <p:nvPr/>
          </p:nvSpPr>
          <p:spPr>
            <a:xfrm>
              <a:off x="6172360" y="4401626"/>
              <a:ext cx="1001486" cy="1001486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2056" name="Picture 8" descr="quest Icon 909406">
              <a:extLst>
                <a:ext uri="{FF2B5EF4-FFF2-40B4-BE49-F238E27FC236}">
                  <a16:creationId xmlns:a16="http://schemas.microsoft.com/office/drawing/2014/main" id="{61BC81F6-087B-469C-9634-D528815F92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9803" y="4632369"/>
              <a:ext cx="540000" cy="5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2" name="Oval 5">
            <a:extLst>
              <a:ext uri="{FF2B5EF4-FFF2-40B4-BE49-F238E27FC236}">
                <a16:creationId xmlns:a16="http://schemas.microsoft.com/office/drawing/2014/main" id="{4D6C6BFE-0310-4756-9900-5FF5F8BB5B11}"/>
              </a:ext>
            </a:extLst>
          </p:cNvPr>
          <p:cNvSpPr/>
          <p:nvPr/>
        </p:nvSpPr>
        <p:spPr>
          <a:xfrm>
            <a:off x="6172360" y="5633855"/>
            <a:ext cx="1001486" cy="1001486"/>
          </a:xfrm>
          <a:prstGeom prst="ellipse">
            <a:avLst/>
          </a:prstGeom>
          <a:noFill/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TextBox 23">
            <a:extLst>
              <a:ext uri="{FF2B5EF4-FFF2-40B4-BE49-F238E27FC236}">
                <a16:creationId xmlns:a16="http://schemas.microsoft.com/office/drawing/2014/main" id="{C0C8C036-A03E-41B2-B236-73D1D8854639}"/>
              </a:ext>
            </a:extLst>
          </p:cNvPr>
          <p:cNvSpPr txBox="1"/>
          <p:nvPr/>
        </p:nvSpPr>
        <p:spPr>
          <a:xfrm>
            <a:off x="7401289" y="5934543"/>
            <a:ext cx="4114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 - Learn!</a:t>
            </a:r>
          </a:p>
        </p:txBody>
      </p:sp>
      <p:pic>
        <p:nvPicPr>
          <p:cNvPr id="2058" name="Picture 10" descr="Learning Icon 130909">
            <a:extLst>
              <a:ext uri="{FF2B5EF4-FFF2-40B4-BE49-F238E27FC236}">
                <a16:creationId xmlns:a16="http://schemas.microsoft.com/office/drawing/2014/main" id="{CBE64126-235E-4E5E-9019-0514CA5FF4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9803" y="5864598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1831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256212" y="0"/>
            <a:ext cx="6932613" cy="6858000"/>
          </a:xfrm>
          <a:prstGeom prst="rect">
            <a:avLst/>
          </a:prstGeom>
          <a:gradFill>
            <a:gsLst>
              <a:gs pos="0">
                <a:srgbClr val="32C3FF"/>
              </a:gs>
              <a:gs pos="100000">
                <a:schemeClr val="accent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5" name="Content Placeholder 4"/>
          <p:cNvSpPr>
            <a:spLocks noGrp="1"/>
          </p:cNvSpPr>
          <p:nvPr>
            <p:ph idx="4294967295"/>
          </p:nvPr>
        </p:nvSpPr>
        <p:spPr>
          <a:xfrm>
            <a:off x="5637212" y="1219200"/>
            <a:ext cx="6324600" cy="2590800"/>
          </a:xfrm>
        </p:spPr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Dataset: Transportation related accidents in Barcelona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Source: </a:t>
            </a:r>
            <a:r>
              <a:rPr lang="en-US" dirty="0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opendata-ajuntament.barcelona.cat/</a:t>
            </a:r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Historical Data: 2016 and 2017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Numerical Data: Accidents, Victims, Light Injuries, Serious Injuries, Deaths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Categorical data: Neighborhood, District, Time of the day(ordinal)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EC19C91D-A183-4FEE-9FD3-090D48BE439F}"/>
              </a:ext>
            </a:extLst>
          </p:cNvPr>
          <p:cNvSpPr txBox="1">
            <a:spLocks/>
          </p:cNvSpPr>
          <p:nvPr/>
        </p:nvSpPr>
        <p:spPr>
          <a:xfrm>
            <a:off x="6372183" y="203319"/>
            <a:ext cx="4911566" cy="71108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ts val="0"/>
              </a:spcBef>
              <a:defRPr/>
            </a:pPr>
            <a:r>
              <a:rPr lang="en-IN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- Data Sources</a:t>
            </a:r>
          </a:p>
        </p:txBody>
      </p:sp>
      <p:pic>
        <p:nvPicPr>
          <p:cNvPr id="8" name="Picture 2" descr="data source Icon 1630980">
            <a:extLst>
              <a:ext uri="{FF2B5EF4-FFF2-40B4-BE49-F238E27FC236}">
                <a16:creationId xmlns:a16="http://schemas.microsoft.com/office/drawing/2014/main" id="{58689A3C-2187-480D-A028-8134C8D399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8412" y="287282"/>
            <a:ext cx="533400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data source Icon 1630980">
            <a:extLst>
              <a:ext uri="{FF2B5EF4-FFF2-40B4-BE49-F238E27FC236}">
                <a16:creationId xmlns:a16="http://schemas.microsoft.com/office/drawing/2014/main" id="{96235071-351E-4994-B745-4FEC725E0F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8412" y="287282"/>
            <a:ext cx="533400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B347820D-AA42-4862-B3D6-4669C6AE8219}"/>
              </a:ext>
            </a:extLst>
          </p:cNvPr>
          <p:cNvSpPr txBox="1">
            <a:spLocks/>
          </p:cNvSpPr>
          <p:nvPr/>
        </p:nvSpPr>
        <p:spPr>
          <a:xfrm>
            <a:off x="5637212" y="3819842"/>
            <a:ext cx="6324600" cy="2590800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Dataset: Motorbikes registered in Barcelona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Source: </a:t>
            </a:r>
            <a:r>
              <a:rPr lang="en-US" dirty="0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opendata-ajuntament.barcelona.cat/</a:t>
            </a:r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Historical Data: 2016 and 2017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Numerical Data: Number of motorbikes registered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Categorical data: Neighborhood, District, displacement capacity(cc)</a:t>
            </a: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597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dir="u" isContent="1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2C3FF"/>
            </a:gs>
            <a:gs pos="10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>
            <a:extLst>
              <a:ext uri="{FF2B5EF4-FFF2-40B4-BE49-F238E27FC236}">
                <a16:creationId xmlns:a16="http://schemas.microsoft.com/office/drawing/2014/main" id="{16AACA18-CE99-41FC-B92F-CCF0CF5157D2}"/>
              </a:ext>
            </a:extLst>
          </p:cNvPr>
          <p:cNvSpPr txBox="1">
            <a:spLocks/>
          </p:cNvSpPr>
          <p:nvPr/>
        </p:nvSpPr>
        <p:spPr>
          <a:xfrm>
            <a:off x="6372183" y="203319"/>
            <a:ext cx="4911566" cy="71108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ts val="0"/>
              </a:spcBef>
              <a:defRPr/>
            </a:pPr>
            <a:r>
              <a:rPr lang="en-IN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– Data Wrangling</a:t>
            </a:r>
          </a:p>
        </p:txBody>
      </p:sp>
      <p:pic>
        <p:nvPicPr>
          <p:cNvPr id="25" name="Picture 4" descr="Data transformation Icon 986782">
            <a:extLst>
              <a:ext uri="{FF2B5EF4-FFF2-40B4-BE49-F238E27FC236}">
                <a16:creationId xmlns:a16="http://schemas.microsoft.com/office/drawing/2014/main" id="{4C2C1990-C953-4B9F-8A23-A5CA9857A5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8413" y="298200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F128BA7D-444F-4A7A-BDBD-4B405CA60A05}"/>
              </a:ext>
            </a:extLst>
          </p:cNvPr>
          <p:cNvSpPr txBox="1">
            <a:spLocks/>
          </p:cNvSpPr>
          <p:nvPr/>
        </p:nvSpPr>
        <p:spPr>
          <a:xfrm>
            <a:off x="455612" y="609600"/>
            <a:ext cx="10439400" cy="5867400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DATA CLEANING: 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Fortunately the data had no empty cel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On the other hand it was necessary to translate columns and values to Englis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ROUPING &amp; AGGREGATION: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We used grouping for the Accidents Dataset by “District”, our objective was was to aggregate data to subgroups large sample size in order to remain representative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Alternatively for the Motorbikes we used the “</a:t>
            </a:r>
            <a:r>
              <a:rPr lang="en-US" dirty="0" err="1">
                <a:solidFill>
                  <a:schemeClr val="bg1"/>
                </a:solidFill>
              </a:rPr>
              <a:t>pivot_table</a:t>
            </a:r>
            <a:r>
              <a:rPr lang="en-US" dirty="0">
                <a:solidFill>
                  <a:schemeClr val="bg1"/>
                </a:solidFill>
              </a:rPr>
              <a:t>” function in order to “one-hot code” the bike potency(cc) category into numbers that could be aggregated by “District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AF42EA8C-E10C-4507-8B7F-251398CEBF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9012" y="1500276"/>
            <a:ext cx="2286000" cy="858784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F107906A-2BEA-448A-ADAB-60C01BEF63A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84612" y="1371600"/>
            <a:ext cx="2003300" cy="1072189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D62F0A31-A62D-44D8-96A0-796E904042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9012" y="3090065"/>
            <a:ext cx="6475412" cy="567535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C081408B-8CBF-445E-8E5D-3A34393238A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2812" y="4957921"/>
            <a:ext cx="4552950" cy="223679"/>
          </a:xfrm>
          <a:prstGeom prst="rect">
            <a:avLst/>
          </a:prstGeom>
        </p:spPr>
      </p:pic>
      <p:sp>
        <p:nvSpPr>
          <p:cNvPr id="12" name="Flecha: a la derecha 11">
            <a:extLst>
              <a:ext uri="{FF2B5EF4-FFF2-40B4-BE49-F238E27FC236}">
                <a16:creationId xmlns:a16="http://schemas.microsoft.com/office/drawing/2014/main" id="{BAC3B483-B510-4ABF-A75C-85D1553C4ADF}"/>
              </a:ext>
            </a:extLst>
          </p:cNvPr>
          <p:cNvSpPr/>
          <p:nvPr/>
        </p:nvSpPr>
        <p:spPr>
          <a:xfrm>
            <a:off x="3503612" y="1828800"/>
            <a:ext cx="228600" cy="2286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CD9AADA2-D0CE-46C7-8492-2F3E872C355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2812" y="5908199"/>
            <a:ext cx="8837612" cy="459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721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2C3FF"/>
            </a:gs>
            <a:gs pos="10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>
            <a:extLst>
              <a:ext uri="{FF2B5EF4-FFF2-40B4-BE49-F238E27FC236}">
                <a16:creationId xmlns:a16="http://schemas.microsoft.com/office/drawing/2014/main" id="{16AACA18-CE99-41FC-B92F-CCF0CF5157D2}"/>
              </a:ext>
            </a:extLst>
          </p:cNvPr>
          <p:cNvSpPr txBox="1">
            <a:spLocks/>
          </p:cNvSpPr>
          <p:nvPr/>
        </p:nvSpPr>
        <p:spPr>
          <a:xfrm>
            <a:off x="6372183" y="203319"/>
            <a:ext cx="4911566" cy="71108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ts val="0"/>
              </a:spcBef>
              <a:defRPr/>
            </a:pPr>
            <a:r>
              <a:rPr lang="en-IN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– Insights </a:t>
            </a:r>
            <a:r>
              <a:rPr lang="en-US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IN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/3)</a:t>
            </a:r>
          </a:p>
        </p:txBody>
      </p:sp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F128BA7D-444F-4A7A-BDBD-4B405CA60A05}"/>
              </a:ext>
            </a:extLst>
          </p:cNvPr>
          <p:cNvSpPr txBox="1">
            <a:spLocks/>
          </p:cNvSpPr>
          <p:nvPr/>
        </p:nvSpPr>
        <p:spPr>
          <a:xfrm>
            <a:off x="455612" y="457200"/>
            <a:ext cx="10439400" cy="2590800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After merging the two datasets the Result was the Following Table*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14" name="Picture 6" descr="Idea Icon 1754160">
            <a:extLst>
              <a:ext uri="{FF2B5EF4-FFF2-40B4-BE49-F238E27FC236}">
                <a16:creationId xmlns:a16="http://schemas.microsoft.com/office/drawing/2014/main" id="{E2267AAE-D806-4C3E-B5F7-3A4B45FF6E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63213" y="288859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F395641E-8AF2-4672-99AE-53EB00015A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84162" y="990600"/>
            <a:ext cx="8620501" cy="3552756"/>
          </a:xfrm>
          <a:prstGeom prst="rect">
            <a:avLst/>
          </a:prstGeom>
        </p:spPr>
      </p:pic>
      <p:sp>
        <p:nvSpPr>
          <p:cNvPr id="16" name="TextBox 5">
            <a:extLst>
              <a:ext uri="{FF2B5EF4-FFF2-40B4-BE49-F238E27FC236}">
                <a16:creationId xmlns:a16="http://schemas.microsoft.com/office/drawing/2014/main" id="{C78E2D28-750C-4199-88CC-262442276FBC}"/>
              </a:ext>
            </a:extLst>
          </p:cNvPr>
          <p:cNvSpPr txBox="1"/>
          <p:nvPr/>
        </p:nvSpPr>
        <p:spPr>
          <a:xfrm>
            <a:off x="-12320" y="6626627"/>
            <a:ext cx="4648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chemeClr val="bg1"/>
                </a:solidFill>
              </a:rPr>
              <a:t>*2016 Dataset</a:t>
            </a:r>
          </a:p>
        </p:txBody>
      </p:sp>
      <p:sp>
        <p:nvSpPr>
          <p:cNvPr id="17" name="Content Placeholder 4">
            <a:extLst>
              <a:ext uri="{FF2B5EF4-FFF2-40B4-BE49-F238E27FC236}">
                <a16:creationId xmlns:a16="http://schemas.microsoft.com/office/drawing/2014/main" id="{43C229E1-CD48-4C76-B9B7-B489AEFA1B77}"/>
              </a:ext>
            </a:extLst>
          </p:cNvPr>
          <p:cNvSpPr txBox="1">
            <a:spLocks/>
          </p:cNvSpPr>
          <p:nvPr/>
        </p:nvSpPr>
        <p:spPr>
          <a:xfrm>
            <a:off x="455612" y="4572000"/>
            <a:ext cx="10439400" cy="1902227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Questions raised: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Do the total number of bikes has influence on the number of accidents?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Do they power/size of the bike correlates with accidents? What about deaths?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BBC4773A-8196-4FB2-BC57-52FB989AD0F4}"/>
              </a:ext>
            </a:extLst>
          </p:cNvPr>
          <p:cNvSpPr txBox="1">
            <a:spLocks/>
          </p:cNvSpPr>
          <p:nvPr/>
        </p:nvSpPr>
        <p:spPr>
          <a:xfrm>
            <a:off x="455612" y="5667207"/>
            <a:ext cx="10439400" cy="809794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Hypothesis: We assumed for the purpose of the analysis that the Motorbikes registered to a district is representative of the number of bikes actively cruising in that area during any given day (No seasonality)</a:t>
            </a: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026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2C3FF"/>
            </a:gs>
            <a:gs pos="10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>
            <a:extLst>
              <a:ext uri="{FF2B5EF4-FFF2-40B4-BE49-F238E27FC236}">
                <a16:creationId xmlns:a16="http://schemas.microsoft.com/office/drawing/2014/main" id="{16AACA18-CE99-41FC-B92F-CCF0CF5157D2}"/>
              </a:ext>
            </a:extLst>
          </p:cNvPr>
          <p:cNvSpPr txBox="1">
            <a:spLocks/>
          </p:cNvSpPr>
          <p:nvPr/>
        </p:nvSpPr>
        <p:spPr>
          <a:xfrm>
            <a:off x="6372183" y="203319"/>
            <a:ext cx="4911566" cy="71108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ts val="0"/>
              </a:spcBef>
              <a:defRPr/>
            </a:pPr>
            <a:r>
              <a:rPr lang="en-IN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– Insights </a:t>
            </a:r>
            <a:r>
              <a:rPr lang="en-US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IN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/3)</a:t>
            </a:r>
          </a:p>
        </p:txBody>
      </p:sp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F128BA7D-444F-4A7A-BDBD-4B405CA60A05}"/>
              </a:ext>
            </a:extLst>
          </p:cNvPr>
          <p:cNvSpPr txBox="1">
            <a:spLocks/>
          </p:cNvSpPr>
          <p:nvPr/>
        </p:nvSpPr>
        <p:spPr>
          <a:xfrm>
            <a:off x="473841" y="854492"/>
            <a:ext cx="10439400" cy="595058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Using the correlation function we got to unexpected result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14" name="Picture 6" descr="Idea Icon 1754160">
            <a:extLst>
              <a:ext uri="{FF2B5EF4-FFF2-40B4-BE49-F238E27FC236}">
                <a16:creationId xmlns:a16="http://schemas.microsoft.com/office/drawing/2014/main" id="{E2267AAE-D806-4C3E-B5F7-3A4B45FF6E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63213" y="288859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5">
            <a:extLst>
              <a:ext uri="{FF2B5EF4-FFF2-40B4-BE49-F238E27FC236}">
                <a16:creationId xmlns:a16="http://schemas.microsoft.com/office/drawing/2014/main" id="{C78E2D28-750C-4199-88CC-262442276FBC}"/>
              </a:ext>
            </a:extLst>
          </p:cNvPr>
          <p:cNvSpPr txBox="1"/>
          <p:nvPr/>
        </p:nvSpPr>
        <p:spPr>
          <a:xfrm>
            <a:off x="-12320" y="6626627"/>
            <a:ext cx="4648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chemeClr val="bg1"/>
                </a:solidFill>
              </a:rPr>
              <a:t>*2016 Dataset</a:t>
            </a:r>
          </a:p>
        </p:txBody>
      </p:sp>
      <p:sp>
        <p:nvSpPr>
          <p:cNvPr id="9" name="Arrow: Right 22">
            <a:extLst>
              <a:ext uri="{FF2B5EF4-FFF2-40B4-BE49-F238E27FC236}">
                <a16:creationId xmlns:a16="http://schemas.microsoft.com/office/drawing/2014/main" id="{F80E181E-A051-41D4-8688-5BE763E0B5CD}"/>
              </a:ext>
            </a:extLst>
          </p:cNvPr>
          <p:cNvSpPr/>
          <p:nvPr/>
        </p:nvSpPr>
        <p:spPr>
          <a:xfrm>
            <a:off x="6843267" y="4125624"/>
            <a:ext cx="1079945" cy="60004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Rounded Rectangle 6">
            <a:extLst>
              <a:ext uri="{FF2B5EF4-FFF2-40B4-BE49-F238E27FC236}">
                <a16:creationId xmlns:a16="http://schemas.microsoft.com/office/drawing/2014/main" id="{C1FD7C17-C3DA-40C6-9BD7-5F6E2639E6F8}"/>
              </a:ext>
            </a:extLst>
          </p:cNvPr>
          <p:cNvSpPr/>
          <p:nvPr/>
        </p:nvSpPr>
        <p:spPr>
          <a:xfrm>
            <a:off x="571377" y="2175164"/>
            <a:ext cx="1910390" cy="4124036"/>
          </a:xfrm>
          <a:prstGeom prst="roundRect">
            <a:avLst>
              <a:gd name="adj" fmla="val 317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Rounded Rectangle 8">
            <a:extLst>
              <a:ext uri="{FF2B5EF4-FFF2-40B4-BE49-F238E27FC236}">
                <a16:creationId xmlns:a16="http://schemas.microsoft.com/office/drawing/2014/main" id="{74B9D71E-60F9-43C6-BB5F-F3A81791639A}"/>
              </a:ext>
            </a:extLst>
          </p:cNvPr>
          <p:cNvSpPr/>
          <p:nvPr/>
        </p:nvSpPr>
        <p:spPr>
          <a:xfrm>
            <a:off x="2589212" y="2175164"/>
            <a:ext cx="1910390" cy="4124036"/>
          </a:xfrm>
          <a:prstGeom prst="roundRect">
            <a:avLst>
              <a:gd name="adj" fmla="val 245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2" name="Oval 13">
            <a:extLst>
              <a:ext uri="{FF2B5EF4-FFF2-40B4-BE49-F238E27FC236}">
                <a16:creationId xmlns:a16="http://schemas.microsoft.com/office/drawing/2014/main" id="{628F6A48-6A11-4A15-B622-50670ABDD574}"/>
              </a:ext>
            </a:extLst>
          </p:cNvPr>
          <p:cNvSpPr/>
          <p:nvPr/>
        </p:nvSpPr>
        <p:spPr>
          <a:xfrm>
            <a:off x="2992723" y="2735185"/>
            <a:ext cx="1205592" cy="1207520"/>
          </a:xfrm>
          <a:prstGeom prst="ellipse">
            <a:avLst/>
          </a:prstGeo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Rounded Rectangle 13">
            <a:extLst>
              <a:ext uri="{FF2B5EF4-FFF2-40B4-BE49-F238E27FC236}">
                <a16:creationId xmlns:a16="http://schemas.microsoft.com/office/drawing/2014/main" id="{96461DDF-BDD9-4EBE-ACE7-1F26C240F3A1}"/>
              </a:ext>
            </a:extLst>
          </p:cNvPr>
          <p:cNvSpPr/>
          <p:nvPr/>
        </p:nvSpPr>
        <p:spPr>
          <a:xfrm>
            <a:off x="2742435" y="2313022"/>
            <a:ext cx="1632245" cy="33890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solidFill>
                  <a:schemeClr val="bg1"/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Accidents</a:t>
            </a:r>
          </a:p>
        </p:txBody>
      </p:sp>
      <p:sp>
        <p:nvSpPr>
          <p:cNvPr id="19" name="Rectangle 15">
            <a:extLst>
              <a:ext uri="{FF2B5EF4-FFF2-40B4-BE49-F238E27FC236}">
                <a16:creationId xmlns:a16="http://schemas.microsoft.com/office/drawing/2014/main" id="{61A6ECB1-4A23-4C87-95AC-1016EE546D16}"/>
              </a:ext>
            </a:extLst>
          </p:cNvPr>
          <p:cNvSpPr/>
          <p:nvPr/>
        </p:nvSpPr>
        <p:spPr>
          <a:xfrm>
            <a:off x="2589212" y="4030541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" name="Rectangle 23">
            <a:extLst>
              <a:ext uri="{FF2B5EF4-FFF2-40B4-BE49-F238E27FC236}">
                <a16:creationId xmlns:a16="http://schemas.microsoft.com/office/drawing/2014/main" id="{0E991FF2-6BC0-40C3-BB95-598865B2B19A}"/>
              </a:ext>
            </a:extLst>
          </p:cNvPr>
          <p:cNvSpPr/>
          <p:nvPr/>
        </p:nvSpPr>
        <p:spPr>
          <a:xfrm>
            <a:off x="2589212" y="4776837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1" name="Rectangle 24">
            <a:extLst>
              <a:ext uri="{FF2B5EF4-FFF2-40B4-BE49-F238E27FC236}">
                <a16:creationId xmlns:a16="http://schemas.microsoft.com/office/drawing/2014/main" id="{A22E88BF-FA46-4365-882B-F3078A438FF4}"/>
              </a:ext>
            </a:extLst>
          </p:cNvPr>
          <p:cNvSpPr/>
          <p:nvPr/>
        </p:nvSpPr>
        <p:spPr>
          <a:xfrm>
            <a:off x="2589212" y="5523132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2" name="Rounded Rectangle 9">
            <a:extLst>
              <a:ext uri="{FF2B5EF4-FFF2-40B4-BE49-F238E27FC236}">
                <a16:creationId xmlns:a16="http://schemas.microsoft.com/office/drawing/2014/main" id="{37A4EF19-6FFF-481F-962C-7EF014BF4BD8}"/>
              </a:ext>
            </a:extLst>
          </p:cNvPr>
          <p:cNvSpPr/>
          <p:nvPr/>
        </p:nvSpPr>
        <p:spPr>
          <a:xfrm>
            <a:off x="4641222" y="2175164"/>
            <a:ext cx="1910390" cy="4124036"/>
          </a:xfrm>
          <a:prstGeom prst="roundRect">
            <a:avLst>
              <a:gd name="adj" fmla="val 293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3" name="Oval 26">
            <a:extLst>
              <a:ext uri="{FF2B5EF4-FFF2-40B4-BE49-F238E27FC236}">
                <a16:creationId xmlns:a16="http://schemas.microsoft.com/office/drawing/2014/main" id="{1FE62856-7451-4DE3-8D7B-77E266062823}"/>
              </a:ext>
            </a:extLst>
          </p:cNvPr>
          <p:cNvSpPr/>
          <p:nvPr/>
        </p:nvSpPr>
        <p:spPr>
          <a:xfrm>
            <a:off x="5044733" y="2735185"/>
            <a:ext cx="1205592" cy="1207520"/>
          </a:xfrm>
          <a:prstGeom prst="ellipse">
            <a:avLst/>
          </a:prstGeo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4" name="Rounded Rectangle 18">
            <a:extLst>
              <a:ext uri="{FF2B5EF4-FFF2-40B4-BE49-F238E27FC236}">
                <a16:creationId xmlns:a16="http://schemas.microsoft.com/office/drawing/2014/main" id="{821F399A-53CD-4125-B102-7516788AA890}"/>
              </a:ext>
            </a:extLst>
          </p:cNvPr>
          <p:cNvSpPr/>
          <p:nvPr/>
        </p:nvSpPr>
        <p:spPr>
          <a:xfrm>
            <a:off x="4794445" y="2313022"/>
            <a:ext cx="1632245" cy="33890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solidFill>
                  <a:schemeClr val="bg1"/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Deaths</a:t>
            </a:r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04C561AC-5AE5-4388-ACC3-CA7BD4EC7D59}"/>
              </a:ext>
            </a:extLst>
          </p:cNvPr>
          <p:cNvSpPr/>
          <p:nvPr/>
        </p:nvSpPr>
        <p:spPr>
          <a:xfrm>
            <a:off x="4641222" y="4030541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7" name="Rectangle 29">
            <a:extLst>
              <a:ext uri="{FF2B5EF4-FFF2-40B4-BE49-F238E27FC236}">
                <a16:creationId xmlns:a16="http://schemas.microsoft.com/office/drawing/2014/main" id="{1B49A38E-7570-433D-B879-DF4F8594B050}"/>
              </a:ext>
            </a:extLst>
          </p:cNvPr>
          <p:cNvSpPr/>
          <p:nvPr/>
        </p:nvSpPr>
        <p:spPr>
          <a:xfrm>
            <a:off x="4641222" y="4776837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8" name="Rectangle 30">
            <a:extLst>
              <a:ext uri="{FF2B5EF4-FFF2-40B4-BE49-F238E27FC236}">
                <a16:creationId xmlns:a16="http://schemas.microsoft.com/office/drawing/2014/main" id="{55B2B1F6-02A1-4CAA-90EB-165E4A55862F}"/>
              </a:ext>
            </a:extLst>
          </p:cNvPr>
          <p:cNvSpPr/>
          <p:nvPr/>
        </p:nvSpPr>
        <p:spPr>
          <a:xfrm>
            <a:off x="4641222" y="5523132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9" name="Rectangle 43">
            <a:extLst>
              <a:ext uri="{FF2B5EF4-FFF2-40B4-BE49-F238E27FC236}">
                <a16:creationId xmlns:a16="http://schemas.microsoft.com/office/drawing/2014/main" id="{F4E6D801-44CD-41DB-88D1-3AA142F98469}"/>
              </a:ext>
            </a:extLst>
          </p:cNvPr>
          <p:cNvSpPr/>
          <p:nvPr/>
        </p:nvSpPr>
        <p:spPr>
          <a:xfrm>
            <a:off x="571377" y="4030541"/>
            <a:ext cx="1910390" cy="3696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1</a:t>
            </a:r>
            <a:r>
              <a:rPr lang="en-IN" sz="1400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st</a:t>
            </a:r>
            <a:endParaRPr lang="en-IN" sz="1400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30" name="Rectangle 44">
            <a:extLst>
              <a:ext uri="{FF2B5EF4-FFF2-40B4-BE49-F238E27FC236}">
                <a16:creationId xmlns:a16="http://schemas.microsoft.com/office/drawing/2014/main" id="{1F079E8C-BA06-4EC0-A2A4-6ACEC9242E59}"/>
              </a:ext>
            </a:extLst>
          </p:cNvPr>
          <p:cNvSpPr/>
          <p:nvPr/>
        </p:nvSpPr>
        <p:spPr>
          <a:xfrm>
            <a:off x="571377" y="4776837"/>
            <a:ext cx="1910390" cy="3696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8th</a:t>
            </a:r>
          </a:p>
        </p:txBody>
      </p:sp>
      <p:sp>
        <p:nvSpPr>
          <p:cNvPr id="31" name="Rectangle 45">
            <a:extLst>
              <a:ext uri="{FF2B5EF4-FFF2-40B4-BE49-F238E27FC236}">
                <a16:creationId xmlns:a16="http://schemas.microsoft.com/office/drawing/2014/main" id="{687D3FEA-5F1A-4CB2-8030-F7E81AC14EE3}"/>
              </a:ext>
            </a:extLst>
          </p:cNvPr>
          <p:cNvSpPr/>
          <p:nvPr/>
        </p:nvSpPr>
        <p:spPr>
          <a:xfrm>
            <a:off x="571377" y="5523132"/>
            <a:ext cx="1910390" cy="3696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Highest Correlation</a:t>
            </a:r>
          </a:p>
        </p:txBody>
      </p:sp>
      <p:sp>
        <p:nvSpPr>
          <p:cNvPr id="32" name="Freeform 27">
            <a:extLst>
              <a:ext uri="{FF2B5EF4-FFF2-40B4-BE49-F238E27FC236}">
                <a16:creationId xmlns:a16="http://schemas.microsoft.com/office/drawing/2014/main" id="{B8C3C360-1269-4EF8-A711-50B27323EE66}"/>
              </a:ext>
            </a:extLst>
          </p:cNvPr>
          <p:cNvSpPr>
            <a:spLocks noEditPoints="1"/>
          </p:cNvSpPr>
          <p:nvPr/>
        </p:nvSpPr>
        <p:spPr bwMode="auto">
          <a:xfrm>
            <a:off x="1187616" y="2788580"/>
            <a:ext cx="810293" cy="849460"/>
          </a:xfrm>
          <a:custGeom>
            <a:avLst/>
            <a:gdLst>
              <a:gd name="T0" fmla="*/ 5158 w 6506"/>
              <a:gd name="T1" fmla="*/ 1032 h 5279"/>
              <a:gd name="T2" fmla="*/ 5072 w 6506"/>
              <a:gd name="T3" fmla="*/ 1484 h 5279"/>
              <a:gd name="T4" fmla="*/ 4929 w 6506"/>
              <a:gd name="T5" fmla="*/ 1943 h 5279"/>
              <a:gd name="T6" fmla="*/ 4751 w 6506"/>
              <a:gd name="T7" fmla="*/ 2325 h 5279"/>
              <a:gd name="T8" fmla="*/ 5070 w 6506"/>
              <a:gd name="T9" fmla="*/ 2278 h 5279"/>
              <a:gd name="T10" fmla="*/ 5347 w 6506"/>
              <a:gd name="T11" fmla="*/ 2158 h 5279"/>
              <a:gd name="T12" fmla="*/ 5584 w 6506"/>
              <a:gd name="T13" fmla="*/ 1967 h 5279"/>
              <a:gd name="T14" fmla="*/ 5773 w 6506"/>
              <a:gd name="T15" fmla="*/ 1713 h 5279"/>
              <a:gd name="T16" fmla="*/ 5907 w 6506"/>
              <a:gd name="T17" fmla="*/ 1430 h 5279"/>
              <a:gd name="T18" fmla="*/ 5994 w 6506"/>
              <a:gd name="T19" fmla="*/ 1150 h 5279"/>
              <a:gd name="T20" fmla="*/ 6046 w 6506"/>
              <a:gd name="T21" fmla="*/ 895 h 5279"/>
              <a:gd name="T22" fmla="*/ 5189 w 6506"/>
              <a:gd name="T23" fmla="*/ 752 h 5279"/>
              <a:gd name="T24" fmla="*/ 460 w 6506"/>
              <a:gd name="T25" fmla="*/ 895 h 5279"/>
              <a:gd name="T26" fmla="*/ 512 w 6506"/>
              <a:gd name="T27" fmla="*/ 1150 h 5279"/>
              <a:gd name="T28" fmla="*/ 600 w 6506"/>
              <a:gd name="T29" fmla="*/ 1430 h 5279"/>
              <a:gd name="T30" fmla="*/ 733 w 6506"/>
              <a:gd name="T31" fmla="*/ 1713 h 5279"/>
              <a:gd name="T32" fmla="*/ 922 w 6506"/>
              <a:gd name="T33" fmla="*/ 1967 h 5279"/>
              <a:gd name="T34" fmla="*/ 1159 w 6506"/>
              <a:gd name="T35" fmla="*/ 2158 h 5279"/>
              <a:gd name="T36" fmla="*/ 1436 w 6506"/>
              <a:gd name="T37" fmla="*/ 2278 h 5279"/>
              <a:gd name="T38" fmla="*/ 1755 w 6506"/>
              <a:gd name="T39" fmla="*/ 2325 h 5279"/>
              <a:gd name="T40" fmla="*/ 1578 w 6506"/>
              <a:gd name="T41" fmla="*/ 1943 h 5279"/>
              <a:gd name="T42" fmla="*/ 1434 w 6506"/>
              <a:gd name="T43" fmla="*/ 1484 h 5279"/>
              <a:gd name="T44" fmla="*/ 1349 w 6506"/>
              <a:gd name="T45" fmla="*/ 1032 h 5279"/>
              <a:gd name="T46" fmla="*/ 440 w 6506"/>
              <a:gd name="T47" fmla="*/ 752 h 5279"/>
              <a:gd name="T48" fmla="*/ 5211 w 6506"/>
              <a:gd name="T49" fmla="*/ 2 h 5279"/>
              <a:gd name="T50" fmla="*/ 5213 w 6506"/>
              <a:gd name="T51" fmla="*/ 52 h 5279"/>
              <a:gd name="T52" fmla="*/ 5215 w 6506"/>
              <a:gd name="T53" fmla="*/ 191 h 5279"/>
              <a:gd name="T54" fmla="*/ 6506 w 6506"/>
              <a:gd name="T55" fmla="*/ 326 h 5279"/>
              <a:gd name="T56" fmla="*/ 6506 w 6506"/>
              <a:gd name="T57" fmla="*/ 579 h 5279"/>
              <a:gd name="T58" fmla="*/ 6496 w 6506"/>
              <a:gd name="T59" fmla="*/ 722 h 5279"/>
              <a:gd name="T60" fmla="*/ 6470 w 6506"/>
              <a:gd name="T61" fmla="*/ 949 h 5279"/>
              <a:gd name="T62" fmla="*/ 6413 w 6506"/>
              <a:gd name="T63" fmla="*/ 1231 h 5279"/>
              <a:gd name="T64" fmla="*/ 6319 w 6506"/>
              <a:gd name="T65" fmla="*/ 1548 h 5279"/>
              <a:gd name="T66" fmla="*/ 6172 w 6506"/>
              <a:gd name="T67" fmla="*/ 1870 h 5279"/>
              <a:gd name="T68" fmla="*/ 5966 w 6506"/>
              <a:gd name="T69" fmla="*/ 2176 h 5279"/>
              <a:gd name="T70" fmla="*/ 5689 w 6506"/>
              <a:gd name="T71" fmla="*/ 2441 h 5279"/>
              <a:gd name="T72" fmla="*/ 5355 w 6506"/>
              <a:gd name="T73" fmla="*/ 2630 h 5279"/>
              <a:gd name="T74" fmla="*/ 4972 w 6506"/>
              <a:gd name="T75" fmla="*/ 2733 h 5279"/>
              <a:gd name="T76" fmla="*/ 4594 w 6506"/>
              <a:gd name="T77" fmla="*/ 2749 h 5279"/>
              <a:gd name="T78" fmla="*/ 4299 w 6506"/>
              <a:gd name="T79" fmla="*/ 2976 h 5279"/>
              <a:gd name="T80" fmla="*/ 3984 w 6506"/>
              <a:gd name="T81" fmla="*/ 3252 h 5279"/>
              <a:gd name="T82" fmla="*/ 3640 w 6506"/>
              <a:gd name="T83" fmla="*/ 3433 h 5279"/>
              <a:gd name="T84" fmla="*/ 4580 w 6506"/>
              <a:gd name="T85" fmla="*/ 4951 h 5279"/>
              <a:gd name="T86" fmla="*/ 1616 w 6506"/>
              <a:gd name="T87" fmla="*/ 5279 h 5279"/>
              <a:gd name="T88" fmla="*/ 1926 w 6506"/>
              <a:gd name="T89" fmla="*/ 4366 h 5279"/>
              <a:gd name="T90" fmla="*/ 2747 w 6506"/>
              <a:gd name="T91" fmla="*/ 3383 h 5279"/>
              <a:gd name="T92" fmla="*/ 2412 w 6506"/>
              <a:gd name="T93" fmla="*/ 3169 h 5279"/>
              <a:gd name="T94" fmla="*/ 2108 w 6506"/>
              <a:gd name="T95" fmla="*/ 2864 h 5279"/>
              <a:gd name="T96" fmla="*/ 1813 w 6506"/>
              <a:gd name="T97" fmla="*/ 2753 h 5279"/>
              <a:gd name="T98" fmla="*/ 1400 w 6506"/>
              <a:gd name="T99" fmla="*/ 2709 h 5279"/>
              <a:gd name="T100" fmla="*/ 1034 w 6506"/>
              <a:gd name="T101" fmla="*/ 2576 h 5279"/>
              <a:gd name="T102" fmla="*/ 715 w 6506"/>
              <a:gd name="T103" fmla="*/ 2359 h 5279"/>
              <a:gd name="T104" fmla="*/ 464 w 6506"/>
              <a:gd name="T105" fmla="*/ 2077 h 5279"/>
              <a:gd name="T106" fmla="*/ 279 w 6506"/>
              <a:gd name="T107" fmla="*/ 1762 h 5279"/>
              <a:gd name="T108" fmla="*/ 151 w 6506"/>
              <a:gd name="T109" fmla="*/ 1440 h 5279"/>
              <a:gd name="T110" fmla="*/ 70 w 6506"/>
              <a:gd name="T111" fmla="*/ 1132 h 5279"/>
              <a:gd name="T112" fmla="*/ 24 w 6506"/>
              <a:gd name="T113" fmla="*/ 865 h 5279"/>
              <a:gd name="T114" fmla="*/ 4 w 6506"/>
              <a:gd name="T115" fmla="*/ 664 h 5279"/>
              <a:gd name="T116" fmla="*/ 0 w 6506"/>
              <a:gd name="T117" fmla="*/ 553 h 5279"/>
              <a:gd name="T118" fmla="*/ 1291 w 6506"/>
              <a:gd name="T119" fmla="*/ 326 h 5279"/>
              <a:gd name="T120" fmla="*/ 1291 w 6506"/>
              <a:gd name="T121" fmla="*/ 135 h 5279"/>
              <a:gd name="T122" fmla="*/ 1293 w 6506"/>
              <a:gd name="T123" fmla="*/ 24 h 5279"/>
              <a:gd name="T124" fmla="*/ 3243 w 6506"/>
              <a:gd name="T125" fmla="*/ 0 h 52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506" h="5279">
                <a:moveTo>
                  <a:pt x="5189" y="752"/>
                </a:moveTo>
                <a:lnTo>
                  <a:pt x="5176" y="889"/>
                </a:lnTo>
                <a:lnTo>
                  <a:pt x="5158" y="1032"/>
                </a:lnTo>
                <a:lnTo>
                  <a:pt x="5136" y="1180"/>
                </a:lnTo>
                <a:lnTo>
                  <a:pt x="5106" y="1331"/>
                </a:lnTo>
                <a:lnTo>
                  <a:pt x="5072" y="1484"/>
                </a:lnTo>
                <a:lnTo>
                  <a:pt x="5032" y="1639"/>
                </a:lnTo>
                <a:lnTo>
                  <a:pt x="4984" y="1792"/>
                </a:lnTo>
                <a:lnTo>
                  <a:pt x="4929" y="1943"/>
                </a:lnTo>
                <a:lnTo>
                  <a:pt x="4867" y="2093"/>
                </a:lnTo>
                <a:lnTo>
                  <a:pt x="4809" y="2210"/>
                </a:lnTo>
                <a:lnTo>
                  <a:pt x="4751" y="2325"/>
                </a:lnTo>
                <a:lnTo>
                  <a:pt x="4861" y="2317"/>
                </a:lnTo>
                <a:lnTo>
                  <a:pt x="4968" y="2301"/>
                </a:lnTo>
                <a:lnTo>
                  <a:pt x="5070" y="2278"/>
                </a:lnTo>
                <a:lnTo>
                  <a:pt x="5166" y="2246"/>
                </a:lnTo>
                <a:lnTo>
                  <a:pt x="5259" y="2206"/>
                </a:lnTo>
                <a:lnTo>
                  <a:pt x="5347" y="2158"/>
                </a:lnTo>
                <a:lnTo>
                  <a:pt x="5429" y="2105"/>
                </a:lnTo>
                <a:lnTo>
                  <a:pt x="5506" y="2041"/>
                </a:lnTo>
                <a:lnTo>
                  <a:pt x="5584" y="1967"/>
                </a:lnTo>
                <a:lnTo>
                  <a:pt x="5654" y="1886"/>
                </a:lnTo>
                <a:lnTo>
                  <a:pt x="5717" y="1802"/>
                </a:lnTo>
                <a:lnTo>
                  <a:pt x="5773" y="1713"/>
                </a:lnTo>
                <a:lnTo>
                  <a:pt x="5823" y="1619"/>
                </a:lnTo>
                <a:lnTo>
                  <a:pt x="5869" y="1526"/>
                </a:lnTo>
                <a:lnTo>
                  <a:pt x="5907" y="1430"/>
                </a:lnTo>
                <a:lnTo>
                  <a:pt x="5941" y="1337"/>
                </a:lnTo>
                <a:lnTo>
                  <a:pt x="5970" y="1241"/>
                </a:lnTo>
                <a:lnTo>
                  <a:pt x="5994" y="1150"/>
                </a:lnTo>
                <a:lnTo>
                  <a:pt x="6016" y="1060"/>
                </a:lnTo>
                <a:lnTo>
                  <a:pt x="6032" y="975"/>
                </a:lnTo>
                <a:lnTo>
                  <a:pt x="6046" y="895"/>
                </a:lnTo>
                <a:lnTo>
                  <a:pt x="6058" y="820"/>
                </a:lnTo>
                <a:lnTo>
                  <a:pt x="6066" y="752"/>
                </a:lnTo>
                <a:lnTo>
                  <a:pt x="5189" y="752"/>
                </a:lnTo>
                <a:close/>
                <a:moveTo>
                  <a:pt x="440" y="752"/>
                </a:moveTo>
                <a:lnTo>
                  <a:pt x="448" y="820"/>
                </a:lnTo>
                <a:lnTo>
                  <a:pt x="460" y="895"/>
                </a:lnTo>
                <a:lnTo>
                  <a:pt x="474" y="975"/>
                </a:lnTo>
                <a:lnTo>
                  <a:pt x="490" y="1060"/>
                </a:lnTo>
                <a:lnTo>
                  <a:pt x="512" y="1150"/>
                </a:lnTo>
                <a:lnTo>
                  <a:pt x="536" y="1241"/>
                </a:lnTo>
                <a:lnTo>
                  <a:pt x="566" y="1337"/>
                </a:lnTo>
                <a:lnTo>
                  <a:pt x="600" y="1430"/>
                </a:lnTo>
                <a:lnTo>
                  <a:pt x="639" y="1526"/>
                </a:lnTo>
                <a:lnTo>
                  <a:pt x="683" y="1619"/>
                </a:lnTo>
                <a:lnTo>
                  <a:pt x="733" y="1713"/>
                </a:lnTo>
                <a:lnTo>
                  <a:pt x="789" y="1802"/>
                </a:lnTo>
                <a:lnTo>
                  <a:pt x="853" y="1886"/>
                </a:lnTo>
                <a:lnTo>
                  <a:pt x="922" y="1967"/>
                </a:lnTo>
                <a:lnTo>
                  <a:pt x="1000" y="2041"/>
                </a:lnTo>
                <a:lnTo>
                  <a:pt x="1078" y="2105"/>
                </a:lnTo>
                <a:lnTo>
                  <a:pt x="1159" y="2158"/>
                </a:lnTo>
                <a:lnTo>
                  <a:pt x="1247" y="2206"/>
                </a:lnTo>
                <a:lnTo>
                  <a:pt x="1341" y="2246"/>
                </a:lnTo>
                <a:lnTo>
                  <a:pt x="1436" y="2278"/>
                </a:lnTo>
                <a:lnTo>
                  <a:pt x="1538" y="2301"/>
                </a:lnTo>
                <a:lnTo>
                  <a:pt x="1645" y="2317"/>
                </a:lnTo>
                <a:lnTo>
                  <a:pt x="1755" y="2325"/>
                </a:lnTo>
                <a:lnTo>
                  <a:pt x="1697" y="2210"/>
                </a:lnTo>
                <a:lnTo>
                  <a:pt x="1640" y="2093"/>
                </a:lnTo>
                <a:lnTo>
                  <a:pt x="1578" y="1943"/>
                </a:lnTo>
                <a:lnTo>
                  <a:pt x="1522" y="1792"/>
                </a:lnTo>
                <a:lnTo>
                  <a:pt x="1474" y="1639"/>
                </a:lnTo>
                <a:lnTo>
                  <a:pt x="1434" y="1484"/>
                </a:lnTo>
                <a:lnTo>
                  <a:pt x="1400" y="1331"/>
                </a:lnTo>
                <a:lnTo>
                  <a:pt x="1373" y="1180"/>
                </a:lnTo>
                <a:lnTo>
                  <a:pt x="1349" y="1032"/>
                </a:lnTo>
                <a:lnTo>
                  <a:pt x="1331" y="889"/>
                </a:lnTo>
                <a:lnTo>
                  <a:pt x="1317" y="752"/>
                </a:lnTo>
                <a:lnTo>
                  <a:pt x="440" y="752"/>
                </a:lnTo>
                <a:close/>
                <a:moveTo>
                  <a:pt x="3243" y="0"/>
                </a:moveTo>
                <a:lnTo>
                  <a:pt x="3263" y="0"/>
                </a:lnTo>
                <a:lnTo>
                  <a:pt x="5211" y="2"/>
                </a:lnTo>
                <a:lnTo>
                  <a:pt x="5211" y="8"/>
                </a:lnTo>
                <a:lnTo>
                  <a:pt x="5213" y="24"/>
                </a:lnTo>
                <a:lnTo>
                  <a:pt x="5213" y="52"/>
                </a:lnTo>
                <a:lnTo>
                  <a:pt x="5215" y="90"/>
                </a:lnTo>
                <a:lnTo>
                  <a:pt x="5215" y="135"/>
                </a:lnTo>
                <a:lnTo>
                  <a:pt x="5215" y="191"/>
                </a:lnTo>
                <a:lnTo>
                  <a:pt x="5215" y="255"/>
                </a:lnTo>
                <a:lnTo>
                  <a:pt x="5215" y="326"/>
                </a:lnTo>
                <a:lnTo>
                  <a:pt x="6506" y="326"/>
                </a:lnTo>
                <a:lnTo>
                  <a:pt x="6506" y="539"/>
                </a:lnTo>
                <a:lnTo>
                  <a:pt x="6506" y="553"/>
                </a:lnTo>
                <a:lnTo>
                  <a:pt x="6506" y="579"/>
                </a:lnTo>
                <a:lnTo>
                  <a:pt x="6504" y="617"/>
                </a:lnTo>
                <a:lnTo>
                  <a:pt x="6500" y="664"/>
                </a:lnTo>
                <a:lnTo>
                  <a:pt x="6496" y="722"/>
                </a:lnTo>
                <a:lnTo>
                  <a:pt x="6490" y="790"/>
                </a:lnTo>
                <a:lnTo>
                  <a:pt x="6482" y="865"/>
                </a:lnTo>
                <a:lnTo>
                  <a:pt x="6470" y="949"/>
                </a:lnTo>
                <a:lnTo>
                  <a:pt x="6454" y="1038"/>
                </a:lnTo>
                <a:lnTo>
                  <a:pt x="6437" y="1132"/>
                </a:lnTo>
                <a:lnTo>
                  <a:pt x="6413" y="1231"/>
                </a:lnTo>
                <a:lnTo>
                  <a:pt x="6387" y="1335"/>
                </a:lnTo>
                <a:lnTo>
                  <a:pt x="6355" y="1440"/>
                </a:lnTo>
                <a:lnTo>
                  <a:pt x="6319" y="1548"/>
                </a:lnTo>
                <a:lnTo>
                  <a:pt x="6275" y="1655"/>
                </a:lnTo>
                <a:lnTo>
                  <a:pt x="6227" y="1762"/>
                </a:lnTo>
                <a:lnTo>
                  <a:pt x="6172" y="1870"/>
                </a:lnTo>
                <a:lnTo>
                  <a:pt x="6112" y="1975"/>
                </a:lnTo>
                <a:lnTo>
                  <a:pt x="6042" y="2077"/>
                </a:lnTo>
                <a:lnTo>
                  <a:pt x="5966" y="2176"/>
                </a:lnTo>
                <a:lnTo>
                  <a:pt x="5883" y="2270"/>
                </a:lnTo>
                <a:lnTo>
                  <a:pt x="5791" y="2359"/>
                </a:lnTo>
                <a:lnTo>
                  <a:pt x="5689" y="2441"/>
                </a:lnTo>
                <a:lnTo>
                  <a:pt x="5584" y="2514"/>
                </a:lnTo>
                <a:lnTo>
                  <a:pt x="5470" y="2576"/>
                </a:lnTo>
                <a:lnTo>
                  <a:pt x="5355" y="2630"/>
                </a:lnTo>
                <a:lnTo>
                  <a:pt x="5233" y="2673"/>
                </a:lnTo>
                <a:lnTo>
                  <a:pt x="5106" y="2707"/>
                </a:lnTo>
                <a:lnTo>
                  <a:pt x="4972" y="2733"/>
                </a:lnTo>
                <a:lnTo>
                  <a:pt x="4835" y="2747"/>
                </a:lnTo>
                <a:lnTo>
                  <a:pt x="4693" y="2753"/>
                </a:lnTo>
                <a:lnTo>
                  <a:pt x="4594" y="2749"/>
                </a:lnTo>
                <a:lnTo>
                  <a:pt x="4492" y="2743"/>
                </a:lnTo>
                <a:lnTo>
                  <a:pt x="4399" y="2864"/>
                </a:lnTo>
                <a:lnTo>
                  <a:pt x="4299" y="2976"/>
                </a:lnTo>
                <a:lnTo>
                  <a:pt x="4197" y="3077"/>
                </a:lnTo>
                <a:lnTo>
                  <a:pt x="4094" y="3171"/>
                </a:lnTo>
                <a:lnTo>
                  <a:pt x="3984" y="3252"/>
                </a:lnTo>
                <a:lnTo>
                  <a:pt x="3873" y="3324"/>
                </a:lnTo>
                <a:lnTo>
                  <a:pt x="3757" y="3383"/>
                </a:lnTo>
                <a:lnTo>
                  <a:pt x="3640" y="3433"/>
                </a:lnTo>
                <a:lnTo>
                  <a:pt x="3640" y="4366"/>
                </a:lnTo>
                <a:lnTo>
                  <a:pt x="4580" y="4366"/>
                </a:lnTo>
                <a:lnTo>
                  <a:pt x="4580" y="4951"/>
                </a:lnTo>
                <a:lnTo>
                  <a:pt x="4891" y="4951"/>
                </a:lnTo>
                <a:lnTo>
                  <a:pt x="4891" y="5279"/>
                </a:lnTo>
                <a:lnTo>
                  <a:pt x="1616" y="5279"/>
                </a:lnTo>
                <a:lnTo>
                  <a:pt x="1616" y="4951"/>
                </a:lnTo>
                <a:lnTo>
                  <a:pt x="1926" y="4951"/>
                </a:lnTo>
                <a:lnTo>
                  <a:pt x="1926" y="4366"/>
                </a:lnTo>
                <a:lnTo>
                  <a:pt x="2867" y="4366"/>
                </a:lnTo>
                <a:lnTo>
                  <a:pt x="2867" y="3433"/>
                </a:lnTo>
                <a:lnTo>
                  <a:pt x="2747" y="3383"/>
                </a:lnTo>
                <a:lnTo>
                  <a:pt x="2632" y="3322"/>
                </a:lnTo>
                <a:lnTo>
                  <a:pt x="2520" y="3252"/>
                </a:lnTo>
                <a:lnTo>
                  <a:pt x="2412" y="3169"/>
                </a:lnTo>
                <a:lnTo>
                  <a:pt x="2307" y="3077"/>
                </a:lnTo>
                <a:lnTo>
                  <a:pt x="2207" y="2976"/>
                </a:lnTo>
                <a:lnTo>
                  <a:pt x="2108" y="2864"/>
                </a:lnTo>
                <a:lnTo>
                  <a:pt x="2014" y="2743"/>
                </a:lnTo>
                <a:lnTo>
                  <a:pt x="1912" y="2749"/>
                </a:lnTo>
                <a:lnTo>
                  <a:pt x="1813" y="2753"/>
                </a:lnTo>
                <a:lnTo>
                  <a:pt x="1671" y="2747"/>
                </a:lnTo>
                <a:lnTo>
                  <a:pt x="1534" y="2733"/>
                </a:lnTo>
                <a:lnTo>
                  <a:pt x="1400" y="2709"/>
                </a:lnTo>
                <a:lnTo>
                  <a:pt x="1273" y="2673"/>
                </a:lnTo>
                <a:lnTo>
                  <a:pt x="1151" y="2630"/>
                </a:lnTo>
                <a:lnTo>
                  <a:pt x="1034" y="2576"/>
                </a:lnTo>
                <a:lnTo>
                  <a:pt x="922" y="2514"/>
                </a:lnTo>
                <a:lnTo>
                  <a:pt x="817" y="2441"/>
                </a:lnTo>
                <a:lnTo>
                  <a:pt x="715" y="2359"/>
                </a:lnTo>
                <a:lnTo>
                  <a:pt x="624" y="2270"/>
                </a:lnTo>
                <a:lnTo>
                  <a:pt x="540" y="2176"/>
                </a:lnTo>
                <a:lnTo>
                  <a:pt x="464" y="2077"/>
                </a:lnTo>
                <a:lnTo>
                  <a:pt x="394" y="1975"/>
                </a:lnTo>
                <a:lnTo>
                  <a:pt x="335" y="1870"/>
                </a:lnTo>
                <a:lnTo>
                  <a:pt x="279" y="1762"/>
                </a:lnTo>
                <a:lnTo>
                  <a:pt x="231" y="1655"/>
                </a:lnTo>
                <a:lnTo>
                  <a:pt x="187" y="1548"/>
                </a:lnTo>
                <a:lnTo>
                  <a:pt x="151" y="1440"/>
                </a:lnTo>
                <a:lnTo>
                  <a:pt x="120" y="1335"/>
                </a:lnTo>
                <a:lnTo>
                  <a:pt x="92" y="1231"/>
                </a:lnTo>
                <a:lnTo>
                  <a:pt x="70" y="1132"/>
                </a:lnTo>
                <a:lnTo>
                  <a:pt x="52" y="1038"/>
                </a:lnTo>
                <a:lnTo>
                  <a:pt x="36" y="949"/>
                </a:lnTo>
                <a:lnTo>
                  <a:pt x="24" y="865"/>
                </a:lnTo>
                <a:lnTo>
                  <a:pt x="16" y="790"/>
                </a:lnTo>
                <a:lnTo>
                  <a:pt x="10" y="722"/>
                </a:lnTo>
                <a:lnTo>
                  <a:pt x="4" y="664"/>
                </a:lnTo>
                <a:lnTo>
                  <a:pt x="2" y="617"/>
                </a:lnTo>
                <a:lnTo>
                  <a:pt x="0" y="579"/>
                </a:lnTo>
                <a:lnTo>
                  <a:pt x="0" y="553"/>
                </a:lnTo>
                <a:lnTo>
                  <a:pt x="0" y="539"/>
                </a:lnTo>
                <a:lnTo>
                  <a:pt x="0" y="326"/>
                </a:lnTo>
                <a:lnTo>
                  <a:pt x="1291" y="326"/>
                </a:lnTo>
                <a:lnTo>
                  <a:pt x="1291" y="255"/>
                </a:lnTo>
                <a:lnTo>
                  <a:pt x="1291" y="191"/>
                </a:lnTo>
                <a:lnTo>
                  <a:pt x="1291" y="135"/>
                </a:lnTo>
                <a:lnTo>
                  <a:pt x="1291" y="90"/>
                </a:lnTo>
                <a:lnTo>
                  <a:pt x="1293" y="52"/>
                </a:lnTo>
                <a:lnTo>
                  <a:pt x="1293" y="24"/>
                </a:lnTo>
                <a:lnTo>
                  <a:pt x="1295" y="8"/>
                </a:lnTo>
                <a:lnTo>
                  <a:pt x="1295" y="2"/>
                </a:lnTo>
                <a:lnTo>
                  <a:pt x="3243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33" name="TextBox 47">
            <a:extLst>
              <a:ext uri="{FF2B5EF4-FFF2-40B4-BE49-F238E27FC236}">
                <a16:creationId xmlns:a16="http://schemas.microsoft.com/office/drawing/2014/main" id="{78FEA69F-6496-4638-B949-2D73C7602CBF}"/>
              </a:ext>
            </a:extLst>
          </p:cNvPr>
          <p:cNvSpPr txBox="1"/>
          <p:nvPr/>
        </p:nvSpPr>
        <p:spPr>
          <a:xfrm>
            <a:off x="2604270" y="4025966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750 – 1200 cc</a:t>
            </a:r>
          </a:p>
        </p:txBody>
      </p:sp>
      <p:sp>
        <p:nvSpPr>
          <p:cNvPr id="34" name="TextBox 48">
            <a:extLst>
              <a:ext uri="{FF2B5EF4-FFF2-40B4-BE49-F238E27FC236}">
                <a16:creationId xmlns:a16="http://schemas.microsoft.com/office/drawing/2014/main" id="{8CE7A2EA-DF77-48B8-80AF-90964D2A4E07}"/>
              </a:ext>
            </a:extLst>
          </p:cNvPr>
          <p:cNvSpPr txBox="1"/>
          <p:nvPr/>
        </p:nvSpPr>
        <p:spPr>
          <a:xfrm>
            <a:off x="571309" y="4429655"/>
            <a:ext cx="1910451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2</a:t>
            </a:r>
            <a:r>
              <a:rPr lang="en-IN" sz="1400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nd</a:t>
            </a:r>
            <a:endParaRPr lang="en-IN" sz="1400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36" name="TextBox 50">
            <a:extLst>
              <a:ext uri="{FF2B5EF4-FFF2-40B4-BE49-F238E27FC236}">
                <a16:creationId xmlns:a16="http://schemas.microsoft.com/office/drawing/2014/main" id="{9F17FBB6-8B6F-4268-807D-AF8B7D2B0580}"/>
              </a:ext>
            </a:extLst>
          </p:cNvPr>
          <p:cNvSpPr txBox="1"/>
          <p:nvPr/>
        </p:nvSpPr>
        <p:spPr>
          <a:xfrm>
            <a:off x="571309" y="5898238"/>
            <a:ext cx="1910451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Lowest Correlation</a:t>
            </a:r>
          </a:p>
        </p:txBody>
      </p:sp>
      <p:sp>
        <p:nvSpPr>
          <p:cNvPr id="37" name="TextBox 51">
            <a:extLst>
              <a:ext uri="{FF2B5EF4-FFF2-40B4-BE49-F238E27FC236}">
                <a16:creationId xmlns:a16="http://schemas.microsoft.com/office/drawing/2014/main" id="{5E48179D-6328-474E-8475-08F14B52C6B4}"/>
              </a:ext>
            </a:extLst>
          </p:cNvPr>
          <p:cNvSpPr txBox="1"/>
          <p:nvPr/>
        </p:nvSpPr>
        <p:spPr>
          <a:xfrm>
            <a:off x="2616216" y="4397599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501 – 750 cc</a:t>
            </a:r>
          </a:p>
        </p:txBody>
      </p:sp>
      <p:sp>
        <p:nvSpPr>
          <p:cNvPr id="38" name="TextBox 52">
            <a:extLst>
              <a:ext uri="{FF2B5EF4-FFF2-40B4-BE49-F238E27FC236}">
                <a16:creationId xmlns:a16="http://schemas.microsoft.com/office/drawing/2014/main" id="{909DA34D-294C-43E3-9C37-7E78D18B3126}"/>
              </a:ext>
            </a:extLst>
          </p:cNvPr>
          <p:cNvSpPr txBox="1"/>
          <p:nvPr/>
        </p:nvSpPr>
        <p:spPr>
          <a:xfrm>
            <a:off x="2622189" y="4769232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301 – 500 cc</a:t>
            </a:r>
          </a:p>
        </p:txBody>
      </p:sp>
      <p:sp>
        <p:nvSpPr>
          <p:cNvPr id="39" name="TextBox 53">
            <a:extLst>
              <a:ext uri="{FF2B5EF4-FFF2-40B4-BE49-F238E27FC236}">
                <a16:creationId xmlns:a16="http://schemas.microsoft.com/office/drawing/2014/main" id="{A4F3D0FE-5A11-46F0-B860-FFBEB1E30010}"/>
              </a:ext>
            </a:extLst>
          </p:cNvPr>
          <p:cNvSpPr txBox="1"/>
          <p:nvPr/>
        </p:nvSpPr>
        <p:spPr>
          <a:xfrm>
            <a:off x="2610243" y="5140865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35 - 75cc </a:t>
            </a:r>
          </a:p>
        </p:txBody>
      </p:sp>
      <p:sp>
        <p:nvSpPr>
          <p:cNvPr id="40" name="TextBox 54">
            <a:extLst>
              <a:ext uri="{FF2B5EF4-FFF2-40B4-BE49-F238E27FC236}">
                <a16:creationId xmlns:a16="http://schemas.microsoft.com/office/drawing/2014/main" id="{EBE83701-5CAD-4100-AE91-24F9F0FDF5AC}"/>
              </a:ext>
            </a:extLst>
          </p:cNvPr>
          <p:cNvSpPr txBox="1"/>
          <p:nvPr/>
        </p:nvSpPr>
        <p:spPr>
          <a:xfrm>
            <a:off x="4635467" y="4014497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35 - 75cc </a:t>
            </a:r>
          </a:p>
        </p:txBody>
      </p:sp>
      <p:sp>
        <p:nvSpPr>
          <p:cNvPr id="41" name="TextBox 55">
            <a:extLst>
              <a:ext uri="{FF2B5EF4-FFF2-40B4-BE49-F238E27FC236}">
                <a16:creationId xmlns:a16="http://schemas.microsoft.com/office/drawing/2014/main" id="{6BFEEB05-D280-4EE1-80B3-AFB69131AC7C}"/>
              </a:ext>
            </a:extLst>
          </p:cNvPr>
          <p:cNvSpPr txBox="1"/>
          <p:nvPr/>
        </p:nvSpPr>
        <p:spPr>
          <a:xfrm>
            <a:off x="4647413" y="4387852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126 – 200 cc</a:t>
            </a:r>
          </a:p>
        </p:txBody>
      </p:sp>
      <p:sp>
        <p:nvSpPr>
          <p:cNvPr id="42" name="TextBox 56">
            <a:extLst>
              <a:ext uri="{FF2B5EF4-FFF2-40B4-BE49-F238E27FC236}">
                <a16:creationId xmlns:a16="http://schemas.microsoft.com/office/drawing/2014/main" id="{83BD73B7-5CD6-4AE8-ADB3-B0FF44497B37}"/>
              </a:ext>
            </a:extLst>
          </p:cNvPr>
          <p:cNvSpPr txBox="1"/>
          <p:nvPr/>
        </p:nvSpPr>
        <p:spPr>
          <a:xfrm>
            <a:off x="4653386" y="4761207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750 – 1200 cc</a:t>
            </a:r>
          </a:p>
        </p:txBody>
      </p:sp>
      <p:sp>
        <p:nvSpPr>
          <p:cNvPr id="43" name="TextBox 57">
            <a:extLst>
              <a:ext uri="{FF2B5EF4-FFF2-40B4-BE49-F238E27FC236}">
                <a16:creationId xmlns:a16="http://schemas.microsoft.com/office/drawing/2014/main" id="{08CC561C-BD2E-4D5A-BF0A-0099C444C385}"/>
              </a:ext>
            </a:extLst>
          </p:cNvPr>
          <p:cNvSpPr txBox="1"/>
          <p:nvPr/>
        </p:nvSpPr>
        <p:spPr>
          <a:xfrm>
            <a:off x="4641440" y="5134563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501 – 750 cc</a:t>
            </a:r>
          </a:p>
        </p:txBody>
      </p:sp>
      <p:sp>
        <p:nvSpPr>
          <p:cNvPr id="44" name="TextBox 66">
            <a:extLst>
              <a:ext uri="{FF2B5EF4-FFF2-40B4-BE49-F238E27FC236}">
                <a16:creationId xmlns:a16="http://schemas.microsoft.com/office/drawing/2014/main" id="{5E8C3B6A-59CC-49E3-9B46-1DE2B6EDD4F6}"/>
              </a:ext>
            </a:extLst>
          </p:cNvPr>
          <p:cNvSpPr txBox="1"/>
          <p:nvPr/>
        </p:nvSpPr>
        <p:spPr>
          <a:xfrm>
            <a:off x="2628161" y="5512499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88%</a:t>
            </a:r>
            <a:endParaRPr lang="en-IN" sz="2000" b="1" dirty="0">
              <a:solidFill>
                <a:schemeClr val="bg1"/>
              </a:solidFill>
              <a:latin typeface="Source Sans Pro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45" name="TextBox 67">
            <a:extLst>
              <a:ext uri="{FF2B5EF4-FFF2-40B4-BE49-F238E27FC236}">
                <a16:creationId xmlns:a16="http://schemas.microsoft.com/office/drawing/2014/main" id="{94BE5582-9368-4CB4-B9F4-95FC12302C0B}"/>
              </a:ext>
            </a:extLst>
          </p:cNvPr>
          <p:cNvSpPr txBox="1"/>
          <p:nvPr/>
        </p:nvSpPr>
        <p:spPr>
          <a:xfrm>
            <a:off x="4659358" y="5501030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73%</a:t>
            </a:r>
          </a:p>
        </p:txBody>
      </p:sp>
      <p:sp>
        <p:nvSpPr>
          <p:cNvPr id="46" name="TextBox 70">
            <a:extLst>
              <a:ext uri="{FF2B5EF4-FFF2-40B4-BE49-F238E27FC236}">
                <a16:creationId xmlns:a16="http://schemas.microsoft.com/office/drawing/2014/main" id="{C8B835F9-D92D-4A6A-8619-A8BDBBF7DBCC}"/>
              </a:ext>
            </a:extLst>
          </p:cNvPr>
          <p:cNvSpPr txBox="1"/>
          <p:nvPr/>
        </p:nvSpPr>
        <p:spPr>
          <a:xfrm>
            <a:off x="2628161" y="5891859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58%</a:t>
            </a:r>
          </a:p>
        </p:txBody>
      </p:sp>
      <p:sp>
        <p:nvSpPr>
          <p:cNvPr id="47" name="TextBox 71">
            <a:extLst>
              <a:ext uri="{FF2B5EF4-FFF2-40B4-BE49-F238E27FC236}">
                <a16:creationId xmlns:a16="http://schemas.microsoft.com/office/drawing/2014/main" id="{4672B786-EA2E-4244-8F11-66302F07CBB0}"/>
              </a:ext>
            </a:extLst>
          </p:cNvPr>
          <p:cNvSpPr txBox="1"/>
          <p:nvPr/>
        </p:nvSpPr>
        <p:spPr>
          <a:xfrm>
            <a:off x="4659358" y="5880390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53%</a:t>
            </a:r>
          </a:p>
        </p:txBody>
      </p:sp>
      <p:sp>
        <p:nvSpPr>
          <p:cNvPr id="48" name="TextBox 49">
            <a:extLst>
              <a:ext uri="{FF2B5EF4-FFF2-40B4-BE49-F238E27FC236}">
                <a16:creationId xmlns:a16="http://schemas.microsoft.com/office/drawing/2014/main" id="{FC07483E-6F53-493F-A1BE-EBE9FAE5AF9B}"/>
              </a:ext>
            </a:extLst>
          </p:cNvPr>
          <p:cNvSpPr txBox="1"/>
          <p:nvPr/>
        </p:nvSpPr>
        <p:spPr>
          <a:xfrm>
            <a:off x="473841" y="5160731"/>
            <a:ext cx="2104856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9th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50" name="Rectangle 13">
            <a:extLst>
              <a:ext uri="{FF2B5EF4-FFF2-40B4-BE49-F238E27FC236}">
                <a16:creationId xmlns:a16="http://schemas.microsoft.com/office/drawing/2014/main" id="{C0474C14-37C9-4D4D-A8A6-3BAA1A2D076E}"/>
              </a:ext>
            </a:extLst>
          </p:cNvPr>
          <p:cNvSpPr/>
          <p:nvPr/>
        </p:nvSpPr>
        <p:spPr>
          <a:xfrm>
            <a:off x="8213637" y="2214650"/>
            <a:ext cx="3276600" cy="449094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TextBox 20">
            <a:extLst>
              <a:ext uri="{FF2B5EF4-FFF2-40B4-BE49-F238E27FC236}">
                <a16:creationId xmlns:a16="http://schemas.microsoft.com/office/drawing/2014/main" id="{15F139ED-213A-44CC-B50D-2D36CEBD8874}"/>
              </a:ext>
            </a:extLst>
          </p:cNvPr>
          <p:cNvSpPr txBox="1"/>
          <p:nvPr/>
        </p:nvSpPr>
        <p:spPr>
          <a:xfrm>
            <a:off x="8899437" y="1595735"/>
            <a:ext cx="3124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ypothesis</a:t>
            </a:r>
          </a:p>
        </p:txBody>
      </p:sp>
      <p:cxnSp>
        <p:nvCxnSpPr>
          <p:cNvPr id="52" name="Straight Connector 28">
            <a:extLst>
              <a:ext uri="{FF2B5EF4-FFF2-40B4-BE49-F238E27FC236}">
                <a16:creationId xmlns:a16="http://schemas.microsoft.com/office/drawing/2014/main" id="{02C9D412-3854-4FB6-B423-52885E6E36A1}"/>
              </a:ext>
            </a:extLst>
          </p:cNvPr>
          <p:cNvCxnSpPr>
            <a:cxnSpLocks/>
          </p:cNvCxnSpPr>
          <p:nvPr/>
        </p:nvCxnSpPr>
        <p:spPr>
          <a:xfrm>
            <a:off x="8213637" y="4365569"/>
            <a:ext cx="32766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Content Placeholder 4">
            <a:extLst>
              <a:ext uri="{FF2B5EF4-FFF2-40B4-BE49-F238E27FC236}">
                <a16:creationId xmlns:a16="http://schemas.microsoft.com/office/drawing/2014/main" id="{3B6301D9-4C98-4EB9-8EF3-16D5750415E9}"/>
              </a:ext>
            </a:extLst>
          </p:cNvPr>
          <p:cNvSpPr txBox="1">
            <a:spLocks/>
          </p:cNvSpPr>
          <p:nvPr/>
        </p:nvSpPr>
        <p:spPr>
          <a:xfrm>
            <a:off x="8373899" y="2760116"/>
            <a:ext cx="2903337" cy="1055137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Youths are less prudent so when they have an accident it is more likely to be serious/fat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55" name="Rounded Rectangle 18">
            <a:extLst>
              <a:ext uri="{FF2B5EF4-FFF2-40B4-BE49-F238E27FC236}">
                <a16:creationId xmlns:a16="http://schemas.microsoft.com/office/drawing/2014/main" id="{5422429B-26E7-4FBE-A6B3-1BB2FAF38F34}"/>
              </a:ext>
            </a:extLst>
          </p:cNvPr>
          <p:cNvSpPr/>
          <p:nvPr/>
        </p:nvSpPr>
        <p:spPr>
          <a:xfrm>
            <a:off x="9035814" y="2305269"/>
            <a:ext cx="1632245" cy="33890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solidFill>
                  <a:schemeClr val="bg1"/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Deaths</a:t>
            </a:r>
          </a:p>
        </p:txBody>
      </p:sp>
      <p:sp>
        <p:nvSpPr>
          <p:cNvPr id="56" name="Rounded Rectangle 13">
            <a:extLst>
              <a:ext uri="{FF2B5EF4-FFF2-40B4-BE49-F238E27FC236}">
                <a16:creationId xmlns:a16="http://schemas.microsoft.com/office/drawing/2014/main" id="{91147439-AF93-4BEB-B825-7E041624A9F4}"/>
              </a:ext>
            </a:extLst>
          </p:cNvPr>
          <p:cNvSpPr/>
          <p:nvPr/>
        </p:nvSpPr>
        <p:spPr>
          <a:xfrm>
            <a:off x="9009444" y="4504149"/>
            <a:ext cx="1632245" cy="33890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solidFill>
                  <a:schemeClr val="bg1"/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Accidents</a:t>
            </a:r>
          </a:p>
        </p:txBody>
      </p:sp>
      <p:sp>
        <p:nvSpPr>
          <p:cNvPr id="57" name="Content Placeholder 4">
            <a:extLst>
              <a:ext uri="{FF2B5EF4-FFF2-40B4-BE49-F238E27FC236}">
                <a16:creationId xmlns:a16="http://schemas.microsoft.com/office/drawing/2014/main" id="{0183A1A4-AE41-4569-9A65-9F9567B4DDAA}"/>
              </a:ext>
            </a:extLst>
          </p:cNvPr>
          <p:cNvSpPr txBox="1">
            <a:spLocks/>
          </p:cNvSpPr>
          <p:nvPr/>
        </p:nvSpPr>
        <p:spPr>
          <a:xfrm>
            <a:off x="8400267" y="4896063"/>
            <a:ext cx="2903337" cy="1055137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Big bikes are harder to control, more risky. Not necessarily fatal, riders are more experienced (A2 </a:t>
            </a:r>
            <a:r>
              <a:rPr lang="en-US" dirty="0" err="1">
                <a:solidFill>
                  <a:schemeClr val="bg1"/>
                </a:solidFill>
              </a:rPr>
              <a:t>liscence</a:t>
            </a:r>
            <a:r>
              <a:rPr lang="en-US" dirty="0">
                <a:solidFill>
                  <a:schemeClr val="bg1"/>
                </a:solidFill>
              </a:rPr>
              <a:t>) and more protec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58" name="Rounded Rectangle 13">
            <a:extLst>
              <a:ext uri="{FF2B5EF4-FFF2-40B4-BE49-F238E27FC236}">
                <a16:creationId xmlns:a16="http://schemas.microsoft.com/office/drawing/2014/main" id="{0F40A4D8-3C70-4C2F-B735-2C17883DD393}"/>
              </a:ext>
            </a:extLst>
          </p:cNvPr>
          <p:cNvSpPr/>
          <p:nvPr/>
        </p:nvSpPr>
        <p:spPr>
          <a:xfrm>
            <a:off x="591028" y="1774882"/>
            <a:ext cx="5960584" cy="33890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solidFill>
                  <a:schemeClr val="bg1"/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 Correlation of Deaths/Accidents vs. Bike Category</a:t>
            </a:r>
          </a:p>
        </p:txBody>
      </p:sp>
      <p:sp>
        <p:nvSpPr>
          <p:cNvPr id="49" name="TextBox 50">
            <a:extLst>
              <a:ext uri="{FF2B5EF4-FFF2-40B4-BE49-F238E27FC236}">
                <a16:creationId xmlns:a16="http://schemas.microsoft.com/office/drawing/2014/main" id="{D06D48F2-0C3D-4974-9F4A-AA4B988CB1F3}"/>
              </a:ext>
            </a:extLst>
          </p:cNvPr>
          <p:cNvSpPr txBox="1"/>
          <p:nvPr/>
        </p:nvSpPr>
        <p:spPr>
          <a:xfrm>
            <a:off x="602561" y="2286000"/>
            <a:ext cx="1910451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Rankings</a:t>
            </a:r>
          </a:p>
        </p:txBody>
      </p:sp>
    </p:spTree>
    <p:extLst>
      <p:ext uri="{BB962C8B-B14F-4D97-AF65-F5344CB8AC3E}">
        <p14:creationId xmlns:p14="http://schemas.microsoft.com/office/powerpoint/2010/main" val="3160840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2C3FF"/>
            </a:gs>
            <a:gs pos="10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>
            <a:extLst>
              <a:ext uri="{FF2B5EF4-FFF2-40B4-BE49-F238E27FC236}">
                <a16:creationId xmlns:a16="http://schemas.microsoft.com/office/drawing/2014/main" id="{16AACA18-CE99-41FC-B92F-CCF0CF5157D2}"/>
              </a:ext>
            </a:extLst>
          </p:cNvPr>
          <p:cNvSpPr txBox="1">
            <a:spLocks/>
          </p:cNvSpPr>
          <p:nvPr/>
        </p:nvSpPr>
        <p:spPr>
          <a:xfrm>
            <a:off x="6372183" y="203319"/>
            <a:ext cx="4911566" cy="71108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ts val="0"/>
              </a:spcBef>
              <a:defRPr/>
            </a:pPr>
            <a:r>
              <a:rPr lang="en-IN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– Insights </a:t>
            </a:r>
            <a:r>
              <a:rPr lang="en-US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IN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/3)</a:t>
            </a:r>
          </a:p>
        </p:txBody>
      </p:sp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F128BA7D-444F-4A7A-BDBD-4B405CA60A05}"/>
              </a:ext>
            </a:extLst>
          </p:cNvPr>
          <p:cNvSpPr txBox="1">
            <a:spLocks/>
          </p:cNvSpPr>
          <p:nvPr/>
        </p:nvSpPr>
        <p:spPr>
          <a:xfrm>
            <a:off x="473841" y="854492"/>
            <a:ext cx="10439400" cy="595058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By subtracting 2017 dataset from 2016 we had another point of view based on yearly increase of bikes and accidents by neighborho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14" name="Picture 6" descr="Idea Icon 1754160">
            <a:extLst>
              <a:ext uri="{FF2B5EF4-FFF2-40B4-BE49-F238E27FC236}">
                <a16:creationId xmlns:a16="http://schemas.microsoft.com/office/drawing/2014/main" id="{E2267AAE-D806-4C3E-B5F7-3A4B45FF6E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63213" y="288859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6">
            <a:extLst>
              <a:ext uri="{FF2B5EF4-FFF2-40B4-BE49-F238E27FC236}">
                <a16:creationId xmlns:a16="http://schemas.microsoft.com/office/drawing/2014/main" id="{C1FD7C17-C3DA-40C6-9BD7-5F6E2639E6F8}"/>
              </a:ext>
            </a:extLst>
          </p:cNvPr>
          <p:cNvSpPr/>
          <p:nvPr/>
        </p:nvSpPr>
        <p:spPr>
          <a:xfrm>
            <a:off x="571377" y="2175164"/>
            <a:ext cx="1910390" cy="4124036"/>
          </a:xfrm>
          <a:prstGeom prst="roundRect">
            <a:avLst>
              <a:gd name="adj" fmla="val 317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Rounded Rectangle 8">
            <a:extLst>
              <a:ext uri="{FF2B5EF4-FFF2-40B4-BE49-F238E27FC236}">
                <a16:creationId xmlns:a16="http://schemas.microsoft.com/office/drawing/2014/main" id="{74B9D71E-60F9-43C6-BB5F-F3A81791639A}"/>
              </a:ext>
            </a:extLst>
          </p:cNvPr>
          <p:cNvSpPr/>
          <p:nvPr/>
        </p:nvSpPr>
        <p:spPr>
          <a:xfrm>
            <a:off x="2589212" y="2175164"/>
            <a:ext cx="1910390" cy="4124036"/>
          </a:xfrm>
          <a:prstGeom prst="roundRect">
            <a:avLst>
              <a:gd name="adj" fmla="val 245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2" name="Oval 13">
            <a:extLst>
              <a:ext uri="{FF2B5EF4-FFF2-40B4-BE49-F238E27FC236}">
                <a16:creationId xmlns:a16="http://schemas.microsoft.com/office/drawing/2014/main" id="{628F6A48-6A11-4A15-B622-50670ABDD574}"/>
              </a:ext>
            </a:extLst>
          </p:cNvPr>
          <p:cNvSpPr/>
          <p:nvPr/>
        </p:nvSpPr>
        <p:spPr>
          <a:xfrm>
            <a:off x="2992723" y="2735185"/>
            <a:ext cx="1205592" cy="1207520"/>
          </a:xfrm>
          <a:prstGeom prst="ellipse">
            <a:avLst/>
          </a:prstGeo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Rounded Rectangle 13">
            <a:extLst>
              <a:ext uri="{FF2B5EF4-FFF2-40B4-BE49-F238E27FC236}">
                <a16:creationId xmlns:a16="http://schemas.microsoft.com/office/drawing/2014/main" id="{96461DDF-BDD9-4EBE-ACE7-1F26C240F3A1}"/>
              </a:ext>
            </a:extLst>
          </p:cNvPr>
          <p:cNvSpPr/>
          <p:nvPr/>
        </p:nvSpPr>
        <p:spPr>
          <a:xfrm>
            <a:off x="2742435" y="2313022"/>
            <a:ext cx="1632245" cy="33890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IN" sz="1600" b="1" dirty="0">
                <a:solidFill>
                  <a:prstClr val="white"/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By District</a:t>
            </a:r>
          </a:p>
        </p:txBody>
      </p:sp>
      <p:sp>
        <p:nvSpPr>
          <p:cNvPr id="19" name="Rectangle 15">
            <a:extLst>
              <a:ext uri="{FF2B5EF4-FFF2-40B4-BE49-F238E27FC236}">
                <a16:creationId xmlns:a16="http://schemas.microsoft.com/office/drawing/2014/main" id="{61A6ECB1-4A23-4C87-95AC-1016EE546D16}"/>
              </a:ext>
            </a:extLst>
          </p:cNvPr>
          <p:cNvSpPr/>
          <p:nvPr/>
        </p:nvSpPr>
        <p:spPr>
          <a:xfrm>
            <a:off x="2589212" y="4030541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" name="Rectangle 23">
            <a:extLst>
              <a:ext uri="{FF2B5EF4-FFF2-40B4-BE49-F238E27FC236}">
                <a16:creationId xmlns:a16="http://schemas.microsoft.com/office/drawing/2014/main" id="{0E991FF2-6BC0-40C3-BB95-598865B2B19A}"/>
              </a:ext>
            </a:extLst>
          </p:cNvPr>
          <p:cNvSpPr/>
          <p:nvPr/>
        </p:nvSpPr>
        <p:spPr>
          <a:xfrm>
            <a:off x="2589212" y="4776837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1" name="Rectangle 24">
            <a:extLst>
              <a:ext uri="{FF2B5EF4-FFF2-40B4-BE49-F238E27FC236}">
                <a16:creationId xmlns:a16="http://schemas.microsoft.com/office/drawing/2014/main" id="{A22E88BF-FA46-4365-882B-F3078A438FF4}"/>
              </a:ext>
            </a:extLst>
          </p:cNvPr>
          <p:cNvSpPr/>
          <p:nvPr/>
        </p:nvSpPr>
        <p:spPr>
          <a:xfrm>
            <a:off x="2589212" y="5523132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2" name="Rounded Rectangle 9">
            <a:extLst>
              <a:ext uri="{FF2B5EF4-FFF2-40B4-BE49-F238E27FC236}">
                <a16:creationId xmlns:a16="http://schemas.microsoft.com/office/drawing/2014/main" id="{37A4EF19-6FFF-481F-962C-7EF014BF4BD8}"/>
              </a:ext>
            </a:extLst>
          </p:cNvPr>
          <p:cNvSpPr/>
          <p:nvPr/>
        </p:nvSpPr>
        <p:spPr>
          <a:xfrm>
            <a:off x="4641222" y="2175164"/>
            <a:ext cx="1910390" cy="4124036"/>
          </a:xfrm>
          <a:prstGeom prst="roundRect">
            <a:avLst>
              <a:gd name="adj" fmla="val 293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3" name="Oval 26">
            <a:extLst>
              <a:ext uri="{FF2B5EF4-FFF2-40B4-BE49-F238E27FC236}">
                <a16:creationId xmlns:a16="http://schemas.microsoft.com/office/drawing/2014/main" id="{1FE62856-7451-4DE3-8D7B-77E266062823}"/>
              </a:ext>
            </a:extLst>
          </p:cNvPr>
          <p:cNvSpPr/>
          <p:nvPr/>
        </p:nvSpPr>
        <p:spPr>
          <a:xfrm>
            <a:off x="5044733" y="2735185"/>
            <a:ext cx="1205592" cy="1207520"/>
          </a:xfrm>
          <a:prstGeom prst="ellipse">
            <a:avLst/>
          </a:prstGeo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4" name="Rounded Rectangle 18">
            <a:extLst>
              <a:ext uri="{FF2B5EF4-FFF2-40B4-BE49-F238E27FC236}">
                <a16:creationId xmlns:a16="http://schemas.microsoft.com/office/drawing/2014/main" id="{821F399A-53CD-4125-B102-7516788AA890}"/>
              </a:ext>
            </a:extLst>
          </p:cNvPr>
          <p:cNvSpPr/>
          <p:nvPr/>
        </p:nvSpPr>
        <p:spPr>
          <a:xfrm>
            <a:off x="4794445" y="2313022"/>
            <a:ext cx="1632245" cy="33890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solidFill>
                  <a:prstClr val="white"/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By Motorbike</a:t>
            </a:r>
            <a:endParaRPr lang="en-IN" sz="1800" b="1" dirty="0">
              <a:solidFill>
                <a:prstClr val="white"/>
              </a:solidFill>
              <a:latin typeface="Arial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04C561AC-5AE5-4388-ACC3-CA7BD4EC7D59}"/>
              </a:ext>
            </a:extLst>
          </p:cNvPr>
          <p:cNvSpPr/>
          <p:nvPr/>
        </p:nvSpPr>
        <p:spPr>
          <a:xfrm>
            <a:off x="4641222" y="4030541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7" name="Rectangle 29">
            <a:extLst>
              <a:ext uri="{FF2B5EF4-FFF2-40B4-BE49-F238E27FC236}">
                <a16:creationId xmlns:a16="http://schemas.microsoft.com/office/drawing/2014/main" id="{1B49A38E-7570-433D-B879-DF4F8594B050}"/>
              </a:ext>
            </a:extLst>
          </p:cNvPr>
          <p:cNvSpPr/>
          <p:nvPr/>
        </p:nvSpPr>
        <p:spPr>
          <a:xfrm>
            <a:off x="4641222" y="4776837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8" name="Rectangle 30">
            <a:extLst>
              <a:ext uri="{FF2B5EF4-FFF2-40B4-BE49-F238E27FC236}">
                <a16:creationId xmlns:a16="http://schemas.microsoft.com/office/drawing/2014/main" id="{55B2B1F6-02A1-4CAA-90EB-165E4A55862F}"/>
              </a:ext>
            </a:extLst>
          </p:cNvPr>
          <p:cNvSpPr/>
          <p:nvPr/>
        </p:nvSpPr>
        <p:spPr>
          <a:xfrm>
            <a:off x="4641222" y="5523132"/>
            <a:ext cx="1910390" cy="36966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9" name="Rectangle 43">
            <a:extLst>
              <a:ext uri="{FF2B5EF4-FFF2-40B4-BE49-F238E27FC236}">
                <a16:creationId xmlns:a16="http://schemas.microsoft.com/office/drawing/2014/main" id="{F4E6D801-44CD-41DB-88D1-3AA142F98469}"/>
              </a:ext>
            </a:extLst>
          </p:cNvPr>
          <p:cNvSpPr/>
          <p:nvPr/>
        </p:nvSpPr>
        <p:spPr>
          <a:xfrm>
            <a:off x="571377" y="4030541"/>
            <a:ext cx="1910390" cy="3696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1</a:t>
            </a:r>
            <a:r>
              <a:rPr lang="en-IN" sz="1400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st</a:t>
            </a:r>
            <a:endParaRPr lang="en-IN" sz="1400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30" name="Rectangle 44">
            <a:extLst>
              <a:ext uri="{FF2B5EF4-FFF2-40B4-BE49-F238E27FC236}">
                <a16:creationId xmlns:a16="http://schemas.microsoft.com/office/drawing/2014/main" id="{1F079E8C-BA06-4EC0-A2A4-6ACEC9242E59}"/>
              </a:ext>
            </a:extLst>
          </p:cNvPr>
          <p:cNvSpPr/>
          <p:nvPr/>
        </p:nvSpPr>
        <p:spPr>
          <a:xfrm>
            <a:off x="571377" y="4776837"/>
            <a:ext cx="1910390" cy="3696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index[-2]</a:t>
            </a:r>
          </a:p>
        </p:txBody>
      </p:sp>
      <p:sp>
        <p:nvSpPr>
          <p:cNvPr id="31" name="Rectangle 45">
            <a:extLst>
              <a:ext uri="{FF2B5EF4-FFF2-40B4-BE49-F238E27FC236}">
                <a16:creationId xmlns:a16="http://schemas.microsoft.com/office/drawing/2014/main" id="{687D3FEA-5F1A-4CB2-8030-F7E81AC14EE3}"/>
              </a:ext>
            </a:extLst>
          </p:cNvPr>
          <p:cNvSpPr/>
          <p:nvPr/>
        </p:nvSpPr>
        <p:spPr>
          <a:xfrm>
            <a:off x="571377" y="5523132"/>
            <a:ext cx="1910390" cy="3696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Highest</a:t>
            </a:r>
          </a:p>
        </p:txBody>
      </p:sp>
      <p:sp>
        <p:nvSpPr>
          <p:cNvPr id="32" name="Freeform 27">
            <a:extLst>
              <a:ext uri="{FF2B5EF4-FFF2-40B4-BE49-F238E27FC236}">
                <a16:creationId xmlns:a16="http://schemas.microsoft.com/office/drawing/2014/main" id="{B8C3C360-1269-4EF8-A711-50B27323EE66}"/>
              </a:ext>
            </a:extLst>
          </p:cNvPr>
          <p:cNvSpPr>
            <a:spLocks noEditPoints="1"/>
          </p:cNvSpPr>
          <p:nvPr/>
        </p:nvSpPr>
        <p:spPr bwMode="auto">
          <a:xfrm>
            <a:off x="1187616" y="2788580"/>
            <a:ext cx="810293" cy="849460"/>
          </a:xfrm>
          <a:custGeom>
            <a:avLst/>
            <a:gdLst>
              <a:gd name="T0" fmla="*/ 5158 w 6506"/>
              <a:gd name="T1" fmla="*/ 1032 h 5279"/>
              <a:gd name="T2" fmla="*/ 5072 w 6506"/>
              <a:gd name="T3" fmla="*/ 1484 h 5279"/>
              <a:gd name="T4" fmla="*/ 4929 w 6506"/>
              <a:gd name="T5" fmla="*/ 1943 h 5279"/>
              <a:gd name="T6" fmla="*/ 4751 w 6506"/>
              <a:gd name="T7" fmla="*/ 2325 h 5279"/>
              <a:gd name="T8" fmla="*/ 5070 w 6506"/>
              <a:gd name="T9" fmla="*/ 2278 h 5279"/>
              <a:gd name="T10" fmla="*/ 5347 w 6506"/>
              <a:gd name="T11" fmla="*/ 2158 h 5279"/>
              <a:gd name="T12" fmla="*/ 5584 w 6506"/>
              <a:gd name="T13" fmla="*/ 1967 h 5279"/>
              <a:gd name="T14" fmla="*/ 5773 w 6506"/>
              <a:gd name="T15" fmla="*/ 1713 h 5279"/>
              <a:gd name="T16" fmla="*/ 5907 w 6506"/>
              <a:gd name="T17" fmla="*/ 1430 h 5279"/>
              <a:gd name="T18" fmla="*/ 5994 w 6506"/>
              <a:gd name="T19" fmla="*/ 1150 h 5279"/>
              <a:gd name="T20" fmla="*/ 6046 w 6506"/>
              <a:gd name="T21" fmla="*/ 895 h 5279"/>
              <a:gd name="T22" fmla="*/ 5189 w 6506"/>
              <a:gd name="T23" fmla="*/ 752 h 5279"/>
              <a:gd name="T24" fmla="*/ 460 w 6506"/>
              <a:gd name="T25" fmla="*/ 895 h 5279"/>
              <a:gd name="T26" fmla="*/ 512 w 6506"/>
              <a:gd name="T27" fmla="*/ 1150 h 5279"/>
              <a:gd name="T28" fmla="*/ 600 w 6506"/>
              <a:gd name="T29" fmla="*/ 1430 h 5279"/>
              <a:gd name="T30" fmla="*/ 733 w 6506"/>
              <a:gd name="T31" fmla="*/ 1713 h 5279"/>
              <a:gd name="T32" fmla="*/ 922 w 6506"/>
              <a:gd name="T33" fmla="*/ 1967 h 5279"/>
              <a:gd name="T34" fmla="*/ 1159 w 6506"/>
              <a:gd name="T35" fmla="*/ 2158 h 5279"/>
              <a:gd name="T36" fmla="*/ 1436 w 6506"/>
              <a:gd name="T37" fmla="*/ 2278 h 5279"/>
              <a:gd name="T38" fmla="*/ 1755 w 6506"/>
              <a:gd name="T39" fmla="*/ 2325 h 5279"/>
              <a:gd name="T40" fmla="*/ 1578 w 6506"/>
              <a:gd name="T41" fmla="*/ 1943 h 5279"/>
              <a:gd name="T42" fmla="*/ 1434 w 6506"/>
              <a:gd name="T43" fmla="*/ 1484 h 5279"/>
              <a:gd name="T44" fmla="*/ 1349 w 6506"/>
              <a:gd name="T45" fmla="*/ 1032 h 5279"/>
              <a:gd name="T46" fmla="*/ 440 w 6506"/>
              <a:gd name="T47" fmla="*/ 752 h 5279"/>
              <a:gd name="T48" fmla="*/ 5211 w 6506"/>
              <a:gd name="T49" fmla="*/ 2 h 5279"/>
              <a:gd name="T50" fmla="*/ 5213 w 6506"/>
              <a:gd name="T51" fmla="*/ 52 h 5279"/>
              <a:gd name="T52" fmla="*/ 5215 w 6506"/>
              <a:gd name="T53" fmla="*/ 191 h 5279"/>
              <a:gd name="T54" fmla="*/ 6506 w 6506"/>
              <a:gd name="T55" fmla="*/ 326 h 5279"/>
              <a:gd name="T56" fmla="*/ 6506 w 6506"/>
              <a:gd name="T57" fmla="*/ 579 h 5279"/>
              <a:gd name="T58" fmla="*/ 6496 w 6506"/>
              <a:gd name="T59" fmla="*/ 722 h 5279"/>
              <a:gd name="T60" fmla="*/ 6470 w 6506"/>
              <a:gd name="T61" fmla="*/ 949 h 5279"/>
              <a:gd name="T62" fmla="*/ 6413 w 6506"/>
              <a:gd name="T63" fmla="*/ 1231 h 5279"/>
              <a:gd name="T64" fmla="*/ 6319 w 6506"/>
              <a:gd name="T65" fmla="*/ 1548 h 5279"/>
              <a:gd name="T66" fmla="*/ 6172 w 6506"/>
              <a:gd name="T67" fmla="*/ 1870 h 5279"/>
              <a:gd name="T68" fmla="*/ 5966 w 6506"/>
              <a:gd name="T69" fmla="*/ 2176 h 5279"/>
              <a:gd name="T70" fmla="*/ 5689 w 6506"/>
              <a:gd name="T71" fmla="*/ 2441 h 5279"/>
              <a:gd name="T72" fmla="*/ 5355 w 6506"/>
              <a:gd name="T73" fmla="*/ 2630 h 5279"/>
              <a:gd name="T74" fmla="*/ 4972 w 6506"/>
              <a:gd name="T75" fmla="*/ 2733 h 5279"/>
              <a:gd name="T76" fmla="*/ 4594 w 6506"/>
              <a:gd name="T77" fmla="*/ 2749 h 5279"/>
              <a:gd name="T78" fmla="*/ 4299 w 6506"/>
              <a:gd name="T79" fmla="*/ 2976 h 5279"/>
              <a:gd name="T80" fmla="*/ 3984 w 6506"/>
              <a:gd name="T81" fmla="*/ 3252 h 5279"/>
              <a:gd name="T82" fmla="*/ 3640 w 6506"/>
              <a:gd name="T83" fmla="*/ 3433 h 5279"/>
              <a:gd name="T84" fmla="*/ 4580 w 6506"/>
              <a:gd name="T85" fmla="*/ 4951 h 5279"/>
              <a:gd name="T86" fmla="*/ 1616 w 6506"/>
              <a:gd name="T87" fmla="*/ 5279 h 5279"/>
              <a:gd name="T88" fmla="*/ 1926 w 6506"/>
              <a:gd name="T89" fmla="*/ 4366 h 5279"/>
              <a:gd name="T90" fmla="*/ 2747 w 6506"/>
              <a:gd name="T91" fmla="*/ 3383 h 5279"/>
              <a:gd name="T92" fmla="*/ 2412 w 6506"/>
              <a:gd name="T93" fmla="*/ 3169 h 5279"/>
              <a:gd name="T94" fmla="*/ 2108 w 6506"/>
              <a:gd name="T95" fmla="*/ 2864 h 5279"/>
              <a:gd name="T96" fmla="*/ 1813 w 6506"/>
              <a:gd name="T97" fmla="*/ 2753 h 5279"/>
              <a:gd name="T98" fmla="*/ 1400 w 6506"/>
              <a:gd name="T99" fmla="*/ 2709 h 5279"/>
              <a:gd name="T100" fmla="*/ 1034 w 6506"/>
              <a:gd name="T101" fmla="*/ 2576 h 5279"/>
              <a:gd name="T102" fmla="*/ 715 w 6506"/>
              <a:gd name="T103" fmla="*/ 2359 h 5279"/>
              <a:gd name="T104" fmla="*/ 464 w 6506"/>
              <a:gd name="T105" fmla="*/ 2077 h 5279"/>
              <a:gd name="T106" fmla="*/ 279 w 6506"/>
              <a:gd name="T107" fmla="*/ 1762 h 5279"/>
              <a:gd name="T108" fmla="*/ 151 w 6506"/>
              <a:gd name="T109" fmla="*/ 1440 h 5279"/>
              <a:gd name="T110" fmla="*/ 70 w 6506"/>
              <a:gd name="T111" fmla="*/ 1132 h 5279"/>
              <a:gd name="T112" fmla="*/ 24 w 6506"/>
              <a:gd name="T113" fmla="*/ 865 h 5279"/>
              <a:gd name="T114" fmla="*/ 4 w 6506"/>
              <a:gd name="T115" fmla="*/ 664 h 5279"/>
              <a:gd name="T116" fmla="*/ 0 w 6506"/>
              <a:gd name="T117" fmla="*/ 553 h 5279"/>
              <a:gd name="T118" fmla="*/ 1291 w 6506"/>
              <a:gd name="T119" fmla="*/ 326 h 5279"/>
              <a:gd name="T120" fmla="*/ 1291 w 6506"/>
              <a:gd name="T121" fmla="*/ 135 h 5279"/>
              <a:gd name="T122" fmla="*/ 1293 w 6506"/>
              <a:gd name="T123" fmla="*/ 24 h 5279"/>
              <a:gd name="T124" fmla="*/ 3243 w 6506"/>
              <a:gd name="T125" fmla="*/ 0 h 52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506" h="5279">
                <a:moveTo>
                  <a:pt x="5189" y="752"/>
                </a:moveTo>
                <a:lnTo>
                  <a:pt x="5176" y="889"/>
                </a:lnTo>
                <a:lnTo>
                  <a:pt x="5158" y="1032"/>
                </a:lnTo>
                <a:lnTo>
                  <a:pt x="5136" y="1180"/>
                </a:lnTo>
                <a:lnTo>
                  <a:pt x="5106" y="1331"/>
                </a:lnTo>
                <a:lnTo>
                  <a:pt x="5072" y="1484"/>
                </a:lnTo>
                <a:lnTo>
                  <a:pt x="5032" y="1639"/>
                </a:lnTo>
                <a:lnTo>
                  <a:pt x="4984" y="1792"/>
                </a:lnTo>
                <a:lnTo>
                  <a:pt x="4929" y="1943"/>
                </a:lnTo>
                <a:lnTo>
                  <a:pt x="4867" y="2093"/>
                </a:lnTo>
                <a:lnTo>
                  <a:pt x="4809" y="2210"/>
                </a:lnTo>
                <a:lnTo>
                  <a:pt x="4751" y="2325"/>
                </a:lnTo>
                <a:lnTo>
                  <a:pt x="4861" y="2317"/>
                </a:lnTo>
                <a:lnTo>
                  <a:pt x="4968" y="2301"/>
                </a:lnTo>
                <a:lnTo>
                  <a:pt x="5070" y="2278"/>
                </a:lnTo>
                <a:lnTo>
                  <a:pt x="5166" y="2246"/>
                </a:lnTo>
                <a:lnTo>
                  <a:pt x="5259" y="2206"/>
                </a:lnTo>
                <a:lnTo>
                  <a:pt x="5347" y="2158"/>
                </a:lnTo>
                <a:lnTo>
                  <a:pt x="5429" y="2105"/>
                </a:lnTo>
                <a:lnTo>
                  <a:pt x="5506" y="2041"/>
                </a:lnTo>
                <a:lnTo>
                  <a:pt x="5584" y="1967"/>
                </a:lnTo>
                <a:lnTo>
                  <a:pt x="5654" y="1886"/>
                </a:lnTo>
                <a:lnTo>
                  <a:pt x="5717" y="1802"/>
                </a:lnTo>
                <a:lnTo>
                  <a:pt x="5773" y="1713"/>
                </a:lnTo>
                <a:lnTo>
                  <a:pt x="5823" y="1619"/>
                </a:lnTo>
                <a:lnTo>
                  <a:pt x="5869" y="1526"/>
                </a:lnTo>
                <a:lnTo>
                  <a:pt x="5907" y="1430"/>
                </a:lnTo>
                <a:lnTo>
                  <a:pt x="5941" y="1337"/>
                </a:lnTo>
                <a:lnTo>
                  <a:pt x="5970" y="1241"/>
                </a:lnTo>
                <a:lnTo>
                  <a:pt x="5994" y="1150"/>
                </a:lnTo>
                <a:lnTo>
                  <a:pt x="6016" y="1060"/>
                </a:lnTo>
                <a:lnTo>
                  <a:pt x="6032" y="975"/>
                </a:lnTo>
                <a:lnTo>
                  <a:pt x="6046" y="895"/>
                </a:lnTo>
                <a:lnTo>
                  <a:pt x="6058" y="820"/>
                </a:lnTo>
                <a:lnTo>
                  <a:pt x="6066" y="752"/>
                </a:lnTo>
                <a:lnTo>
                  <a:pt x="5189" y="752"/>
                </a:lnTo>
                <a:close/>
                <a:moveTo>
                  <a:pt x="440" y="752"/>
                </a:moveTo>
                <a:lnTo>
                  <a:pt x="448" y="820"/>
                </a:lnTo>
                <a:lnTo>
                  <a:pt x="460" y="895"/>
                </a:lnTo>
                <a:lnTo>
                  <a:pt x="474" y="975"/>
                </a:lnTo>
                <a:lnTo>
                  <a:pt x="490" y="1060"/>
                </a:lnTo>
                <a:lnTo>
                  <a:pt x="512" y="1150"/>
                </a:lnTo>
                <a:lnTo>
                  <a:pt x="536" y="1241"/>
                </a:lnTo>
                <a:lnTo>
                  <a:pt x="566" y="1337"/>
                </a:lnTo>
                <a:lnTo>
                  <a:pt x="600" y="1430"/>
                </a:lnTo>
                <a:lnTo>
                  <a:pt x="639" y="1526"/>
                </a:lnTo>
                <a:lnTo>
                  <a:pt x="683" y="1619"/>
                </a:lnTo>
                <a:lnTo>
                  <a:pt x="733" y="1713"/>
                </a:lnTo>
                <a:lnTo>
                  <a:pt x="789" y="1802"/>
                </a:lnTo>
                <a:lnTo>
                  <a:pt x="853" y="1886"/>
                </a:lnTo>
                <a:lnTo>
                  <a:pt x="922" y="1967"/>
                </a:lnTo>
                <a:lnTo>
                  <a:pt x="1000" y="2041"/>
                </a:lnTo>
                <a:lnTo>
                  <a:pt x="1078" y="2105"/>
                </a:lnTo>
                <a:lnTo>
                  <a:pt x="1159" y="2158"/>
                </a:lnTo>
                <a:lnTo>
                  <a:pt x="1247" y="2206"/>
                </a:lnTo>
                <a:lnTo>
                  <a:pt x="1341" y="2246"/>
                </a:lnTo>
                <a:lnTo>
                  <a:pt x="1436" y="2278"/>
                </a:lnTo>
                <a:lnTo>
                  <a:pt x="1538" y="2301"/>
                </a:lnTo>
                <a:lnTo>
                  <a:pt x="1645" y="2317"/>
                </a:lnTo>
                <a:lnTo>
                  <a:pt x="1755" y="2325"/>
                </a:lnTo>
                <a:lnTo>
                  <a:pt x="1697" y="2210"/>
                </a:lnTo>
                <a:lnTo>
                  <a:pt x="1640" y="2093"/>
                </a:lnTo>
                <a:lnTo>
                  <a:pt x="1578" y="1943"/>
                </a:lnTo>
                <a:lnTo>
                  <a:pt x="1522" y="1792"/>
                </a:lnTo>
                <a:lnTo>
                  <a:pt x="1474" y="1639"/>
                </a:lnTo>
                <a:lnTo>
                  <a:pt x="1434" y="1484"/>
                </a:lnTo>
                <a:lnTo>
                  <a:pt x="1400" y="1331"/>
                </a:lnTo>
                <a:lnTo>
                  <a:pt x="1373" y="1180"/>
                </a:lnTo>
                <a:lnTo>
                  <a:pt x="1349" y="1032"/>
                </a:lnTo>
                <a:lnTo>
                  <a:pt x="1331" y="889"/>
                </a:lnTo>
                <a:lnTo>
                  <a:pt x="1317" y="752"/>
                </a:lnTo>
                <a:lnTo>
                  <a:pt x="440" y="752"/>
                </a:lnTo>
                <a:close/>
                <a:moveTo>
                  <a:pt x="3243" y="0"/>
                </a:moveTo>
                <a:lnTo>
                  <a:pt x="3263" y="0"/>
                </a:lnTo>
                <a:lnTo>
                  <a:pt x="5211" y="2"/>
                </a:lnTo>
                <a:lnTo>
                  <a:pt x="5211" y="8"/>
                </a:lnTo>
                <a:lnTo>
                  <a:pt x="5213" y="24"/>
                </a:lnTo>
                <a:lnTo>
                  <a:pt x="5213" y="52"/>
                </a:lnTo>
                <a:lnTo>
                  <a:pt x="5215" y="90"/>
                </a:lnTo>
                <a:lnTo>
                  <a:pt x="5215" y="135"/>
                </a:lnTo>
                <a:lnTo>
                  <a:pt x="5215" y="191"/>
                </a:lnTo>
                <a:lnTo>
                  <a:pt x="5215" y="255"/>
                </a:lnTo>
                <a:lnTo>
                  <a:pt x="5215" y="326"/>
                </a:lnTo>
                <a:lnTo>
                  <a:pt x="6506" y="326"/>
                </a:lnTo>
                <a:lnTo>
                  <a:pt x="6506" y="539"/>
                </a:lnTo>
                <a:lnTo>
                  <a:pt x="6506" y="553"/>
                </a:lnTo>
                <a:lnTo>
                  <a:pt x="6506" y="579"/>
                </a:lnTo>
                <a:lnTo>
                  <a:pt x="6504" y="617"/>
                </a:lnTo>
                <a:lnTo>
                  <a:pt x="6500" y="664"/>
                </a:lnTo>
                <a:lnTo>
                  <a:pt x="6496" y="722"/>
                </a:lnTo>
                <a:lnTo>
                  <a:pt x="6490" y="790"/>
                </a:lnTo>
                <a:lnTo>
                  <a:pt x="6482" y="865"/>
                </a:lnTo>
                <a:lnTo>
                  <a:pt x="6470" y="949"/>
                </a:lnTo>
                <a:lnTo>
                  <a:pt x="6454" y="1038"/>
                </a:lnTo>
                <a:lnTo>
                  <a:pt x="6437" y="1132"/>
                </a:lnTo>
                <a:lnTo>
                  <a:pt x="6413" y="1231"/>
                </a:lnTo>
                <a:lnTo>
                  <a:pt x="6387" y="1335"/>
                </a:lnTo>
                <a:lnTo>
                  <a:pt x="6355" y="1440"/>
                </a:lnTo>
                <a:lnTo>
                  <a:pt x="6319" y="1548"/>
                </a:lnTo>
                <a:lnTo>
                  <a:pt x="6275" y="1655"/>
                </a:lnTo>
                <a:lnTo>
                  <a:pt x="6227" y="1762"/>
                </a:lnTo>
                <a:lnTo>
                  <a:pt x="6172" y="1870"/>
                </a:lnTo>
                <a:lnTo>
                  <a:pt x="6112" y="1975"/>
                </a:lnTo>
                <a:lnTo>
                  <a:pt x="6042" y="2077"/>
                </a:lnTo>
                <a:lnTo>
                  <a:pt x="5966" y="2176"/>
                </a:lnTo>
                <a:lnTo>
                  <a:pt x="5883" y="2270"/>
                </a:lnTo>
                <a:lnTo>
                  <a:pt x="5791" y="2359"/>
                </a:lnTo>
                <a:lnTo>
                  <a:pt x="5689" y="2441"/>
                </a:lnTo>
                <a:lnTo>
                  <a:pt x="5584" y="2514"/>
                </a:lnTo>
                <a:lnTo>
                  <a:pt x="5470" y="2576"/>
                </a:lnTo>
                <a:lnTo>
                  <a:pt x="5355" y="2630"/>
                </a:lnTo>
                <a:lnTo>
                  <a:pt x="5233" y="2673"/>
                </a:lnTo>
                <a:lnTo>
                  <a:pt x="5106" y="2707"/>
                </a:lnTo>
                <a:lnTo>
                  <a:pt x="4972" y="2733"/>
                </a:lnTo>
                <a:lnTo>
                  <a:pt x="4835" y="2747"/>
                </a:lnTo>
                <a:lnTo>
                  <a:pt x="4693" y="2753"/>
                </a:lnTo>
                <a:lnTo>
                  <a:pt x="4594" y="2749"/>
                </a:lnTo>
                <a:lnTo>
                  <a:pt x="4492" y="2743"/>
                </a:lnTo>
                <a:lnTo>
                  <a:pt x="4399" y="2864"/>
                </a:lnTo>
                <a:lnTo>
                  <a:pt x="4299" y="2976"/>
                </a:lnTo>
                <a:lnTo>
                  <a:pt x="4197" y="3077"/>
                </a:lnTo>
                <a:lnTo>
                  <a:pt x="4094" y="3171"/>
                </a:lnTo>
                <a:lnTo>
                  <a:pt x="3984" y="3252"/>
                </a:lnTo>
                <a:lnTo>
                  <a:pt x="3873" y="3324"/>
                </a:lnTo>
                <a:lnTo>
                  <a:pt x="3757" y="3383"/>
                </a:lnTo>
                <a:lnTo>
                  <a:pt x="3640" y="3433"/>
                </a:lnTo>
                <a:lnTo>
                  <a:pt x="3640" y="4366"/>
                </a:lnTo>
                <a:lnTo>
                  <a:pt x="4580" y="4366"/>
                </a:lnTo>
                <a:lnTo>
                  <a:pt x="4580" y="4951"/>
                </a:lnTo>
                <a:lnTo>
                  <a:pt x="4891" y="4951"/>
                </a:lnTo>
                <a:lnTo>
                  <a:pt x="4891" y="5279"/>
                </a:lnTo>
                <a:lnTo>
                  <a:pt x="1616" y="5279"/>
                </a:lnTo>
                <a:lnTo>
                  <a:pt x="1616" y="4951"/>
                </a:lnTo>
                <a:lnTo>
                  <a:pt x="1926" y="4951"/>
                </a:lnTo>
                <a:lnTo>
                  <a:pt x="1926" y="4366"/>
                </a:lnTo>
                <a:lnTo>
                  <a:pt x="2867" y="4366"/>
                </a:lnTo>
                <a:lnTo>
                  <a:pt x="2867" y="3433"/>
                </a:lnTo>
                <a:lnTo>
                  <a:pt x="2747" y="3383"/>
                </a:lnTo>
                <a:lnTo>
                  <a:pt x="2632" y="3322"/>
                </a:lnTo>
                <a:lnTo>
                  <a:pt x="2520" y="3252"/>
                </a:lnTo>
                <a:lnTo>
                  <a:pt x="2412" y="3169"/>
                </a:lnTo>
                <a:lnTo>
                  <a:pt x="2307" y="3077"/>
                </a:lnTo>
                <a:lnTo>
                  <a:pt x="2207" y="2976"/>
                </a:lnTo>
                <a:lnTo>
                  <a:pt x="2108" y="2864"/>
                </a:lnTo>
                <a:lnTo>
                  <a:pt x="2014" y="2743"/>
                </a:lnTo>
                <a:lnTo>
                  <a:pt x="1912" y="2749"/>
                </a:lnTo>
                <a:lnTo>
                  <a:pt x="1813" y="2753"/>
                </a:lnTo>
                <a:lnTo>
                  <a:pt x="1671" y="2747"/>
                </a:lnTo>
                <a:lnTo>
                  <a:pt x="1534" y="2733"/>
                </a:lnTo>
                <a:lnTo>
                  <a:pt x="1400" y="2709"/>
                </a:lnTo>
                <a:lnTo>
                  <a:pt x="1273" y="2673"/>
                </a:lnTo>
                <a:lnTo>
                  <a:pt x="1151" y="2630"/>
                </a:lnTo>
                <a:lnTo>
                  <a:pt x="1034" y="2576"/>
                </a:lnTo>
                <a:lnTo>
                  <a:pt x="922" y="2514"/>
                </a:lnTo>
                <a:lnTo>
                  <a:pt x="817" y="2441"/>
                </a:lnTo>
                <a:lnTo>
                  <a:pt x="715" y="2359"/>
                </a:lnTo>
                <a:lnTo>
                  <a:pt x="624" y="2270"/>
                </a:lnTo>
                <a:lnTo>
                  <a:pt x="540" y="2176"/>
                </a:lnTo>
                <a:lnTo>
                  <a:pt x="464" y="2077"/>
                </a:lnTo>
                <a:lnTo>
                  <a:pt x="394" y="1975"/>
                </a:lnTo>
                <a:lnTo>
                  <a:pt x="335" y="1870"/>
                </a:lnTo>
                <a:lnTo>
                  <a:pt x="279" y="1762"/>
                </a:lnTo>
                <a:lnTo>
                  <a:pt x="231" y="1655"/>
                </a:lnTo>
                <a:lnTo>
                  <a:pt x="187" y="1548"/>
                </a:lnTo>
                <a:lnTo>
                  <a:pt x="151" y="1440"/>
                </a:lnTo>
                <a:lnTo>
                  <a:pt x="120" y="1335"/>
                </a:lnTo>
                <a:lnTo>
                  <a:pt x="92" y="1231"/>
                </a:lnTo>
                <a:lnTo>
                  <a:pt x="70" y="1132"/>
                </a:lnTo>
                <a:lnTo>
                  <a:pt x="52" y="1038"/>
                </a:lnTo>
                <a:lnTo>
                  <a:pt x="36" y="949"/>
                </a:lnTo>
                <a:lnTo>
                  <a:pt x="24" y="865"/>
                </a:lnTo>
                <a:lnTo>
                  <a:pt x="16" y="790"/>
                </a:lnTo>
                <a:lnTo>
                  <a:pt x="10" y="722"/>
                </a:lnTo>
                <a:lnTo>
                  <a:pt x="4" y="664"/>
                </a:lnTo>
                <a:lnTo>
                  <a:pt x="2" y="617"/>
                </a:lnTo>
                <a:lnTo>
                  <a:pt x="0" y="579"/>
                </a:lnTo>
                <a:lnTo>
                  <a:pt x="0" y="553"/>
                </a:lnTo>
                <a:lnTo>
                  <a:pt x="0" y="539"/>
                </a:lnTo>
                <a:lnTo>
                  <a:pt x="0" y="326"/>
                </a:lnTo>
                <a:lnTo>
                  <a:pt x="1291" y="326"/>
                </a:lnTo>
                <a:lnTo>
                  <a:pt x="1291" y="255"/>
                </a:lnTo>
                <a:lnTo>
                  <a:pt x="1291" y="191"/>
                </a:lnTo>
                <a:lnTo>
                  <a:pt x="1291" y="135"/>
                </a:lnTo>
                <a:lnTo>
                  <a:pt x="1291" y="90"/>
                </a:lnTo>
                <a:lnTo>
                  <a:pt x="1293" y="52"/>
                </a:lnTo>
                <a:lnTo>
                  <a:pt x="1293" y="24"/>
                </a:lnTo>
                <a:lnTo>
                  <a:pt x="1295" y="8"/>
                </a:lnTo>
                <a:lnTo>
                  <a:pt x="1295" y="2"/>
                </a:lnTo>
                <a:lnTo>
                  <a:pt x="3243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33" name="TextBox 47">
            <a:extLst>
              <a:ext uri="{FF2B5EF4-FFF2-40B4-BE49-F238E27FC236}">
                <a16:creationId xmlns:a16="http://schemas.microsoft.com/office/drawing/2014/main" id="{78FEA69F-6496-4638-B949-2D73C7602CBF}"/>
              </a:ext>
            </a:extLst>
          </p:cNvPr>
          <p:cNvSpPr txBox="1"/>
          <p:nvPr/>
        </p:nvSpPr>
        <p:spPr>
          <a:xfrm>
            <a:off x="2604270" y="4025966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US" sz="2000" dirty="0">
                <a:solidFill>
                  <a:prstClr val="white"/>
                </a:solidFill>
                <a:latin typeface="Helvetica Neue"/>
              </a:rPr>
              <a:t>Ciutat Vella</a:t>
            </a:r>
            <a:endParaRPr lang="en-IN" sz="2800" b="1" dirty="0">
              <a:solidFill>
                <a:prstClr val="white"/>
              </a:solidFill>
              <a:latin typeface="Source Sans Pro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34" name="TextBox 48">
            <a:extLst>
              <a:ext uri="{FF2B5EF4-FFF2-40B4-BE49-F238E27FC236}">
                <a16:creationId xmlns:a16="http://schemas.microsoft.com/office/drawing/2014/main" id="{8CE7A2EA-DF77-48B8-80AF-90964D2A4E07}"/>
              </a:ext>
            </a:extLst>
          </p:cNvPr>
          <p:cNvSpPr txBox="1"/>
          <p:nvPr/>
        </p:nvSpPr>
        <p:spPr>
          <a:xfrm>
            <a:off x="571309" y="4429655"/>
            <a:ext cx="1910451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2</a:t>
            </a:r>
            <a:r>
              <a:rPr lang="en-IN" sz="1400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nd</a:t>
            </a:r>
            <a:endParaRPr lang="en-IN" sz="1400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36" name="TextBox 50">
            <a:extLst>
              <a:ext uri="{FF2B5EF4-FFF2-40B4-BE49-F238E27FC236}">
                <a16:creationId xmlns:a16="http://schemas.microsoft.com/office/drawing/2014/main" id="{9F17FBB6-8B6F-4268-807D-AF8B7D2B0580}"/>
              </a:ext>
            </a:extLst>
          </p:cNvPr>
          <p:cNvSpPr txBox="1"/>
          <p:nvPr/>
        </p:nvSpPr>
        <p:spPr>
          <a:xfrm>
            <a:off x="571309" y="5898238"/>
            <a:ext cx="1910451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Lowest</a:t>
            </a:r>
          </a:p>
        </p:txBody>
      </p:sp>
      <p:sp>
        <p:nvSpPr>
          <p:cNvPr id="37" name="TextBox 51">
            <a:extLst>
              <a:ext uri="{FF2B5EF4-FFF2-40B4-BE49-F238E27FC236}">
                <a16:creationId xmlns:a16="http://schemas.microsoft.com/office/drawing/2014/main" id="{5E48179D-6328-474E-8475-08F14B52C6B4}"/>
              </a:ext>
            </a:extLst>
          </p:cNvPr>
          <p:cNvSpPr txBox="1"/>
          <p:nvPr/>
        </p:nvSpPr>
        <p:spPr>
          <a:xfrm>
            <a:off x="2616216" y="4397599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US" sz="2000" dirty="0">
                <a:solidFill>
                  <a:prstClr val="white"/>
                </a:solidFill>
                <a:latin typeface="Helvetica Neue"/>
              </a:rPr>
              <a:t>Sant Andreu</a:t>
            </a:r>
            <a:endParaRPr lang="en-IN" sz="2800" b="1" dirty="0">
              <a:solidFill>
                <a:prstClr val="white"/>
              </a:solidFill>
              <a:latin typeface="Source Sans Pro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38" name="TextBox 52">
            <a:extLst>
              <a:ext uri="{FF2B5EF4-FFF2-40B4-BE49-F238E27FC236}">
                <a16:creationId xmlns:a16="http://schemas.microsoft.com/office/drawing/2014/main" id="{909DA34D-294C-43E3-9C37-7E78D18B3126}"/>
              </a:ext>
            </a:extLst>
          </p:cNvPr>
          <p:cNvSpPr txBox="1"/>
          <p:nvPr/>
        </p:nvSpPr>
        <p:spPr>
          <a:xfrm>
            <a:off x="2622189" y="4769232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US" sz="2000" dirty="0">
                <a:solidFill>
                  <a:prstClr val="white"/>
                </a:solidFill>
                <a:latin typeface="Helvetica Neue"/>
              </a:rPr>
              <a:t>Les </a:t>
            </a:r>
            <a:r>
              <a:rPr lang="en-US" sz="2000" dirty="0" err="1">
                <a:solidFill>
                  <a:prstClr val="white"/>
                </a:solidFill>
                <a:latin typeface="Helvetica Neue"/>
              </a:rPr>
              <a:t>Corts</a:t>
            </a:r>
            <a:endParaRPr lang="en-IN" sz="2800" b="1" dirty="0">
              <a:solidFill>
                <a:prstClr val="white"/>
              </a:solidFill>
              <a:latin typeface="Source Sans Pro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39" name="TextBox 53">
            <a:extLst>
              <a:ext uri="{FF2B5EF4-FFF2-40B4-BE49-F238E27FC236}">
                <a16:creationId xmlns:a16="http://schemas.microsoft.com/office/drawing/2014/main" id="{A4F3D0FE-5A11-46F0-B860-FFBEB1E30010}"/>
              </a:ext>
            </a:extLst>
          </p:cNvPr>
          <p:cNvSpPr txBox="1"/>
          <p:nvPr/>
        </p:nvSpPr>
        <p:spPr>
          <a:xfrm>
            <a:off x="2610243" y="5140865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US" sz="2000" b="1" dirty="0" err="1">
                <a:solidFill>
                  <a:prstClr val="white"/>
                </a:solidFill>
                <a:latin typeface="Helvetica Neue"/>
                <a:ea typeface="Source Sans Pro" pitchFamily="34" charset="0"/>
                <a:cs typeface="Arial" pitchFamily="34" charset="0"/>
              </a:rPr>
              <a:t>Eixample</a:t>
            </a:r>
            <a:endParaRPr lang="en-IN" sz="2800" b="1" dirty="0">
              <a:solidFill>
                <a:prstClr val="white"/>
              </a:solidFill>
              <a:latin typeface="Source Sans Pro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40" name="TextBox 54">
            <a:extLst>
              <a:ext uri="{FF2B5EF4-FFF2-40B4-BE49-F238E27FC236}">
                <a16:creationId xmlns:a16="http://schemas.microsoft.com/office/drawing/2014/main" id="{EBE83701-5CAD-4100-AE91-24F9F0FDF5AC}"/>
              </a:ext>
            </a:extLst>
          </p:cNvPr>
          <p:cNvSpPr txBox="1"/>
          <p:nvPr/>
        </p:nvSpPr>
        <p:spPr>
          <a:xfrm>
            <a:off x="4635467" y="4014497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35 - 75cc </a:t>
            </a:r>
          </a:p>
        </p:txBody>
      </p:sp>
      <p:sp>
        <p:nvSpPr>
          <p:cNvPr id="41" name="TextBox 55">
            <a:extLst>
              <a:ext uri="{FF2B5EF4-FFF2-40B4-BE49-F238E27FC236}">
                <a16:creationId xmlns:a16="http://schemas.microsoft.com/office/drawing/2014/main" id="{6BFEEB05-D280-4EE1-80B3-AFB69131AC7C}"/>
              </a:ext>
            </a:extLst>
          </p:cNvPr>
          <p:cNvSpPr txBox="1"/>
          <p:nvPr/>
        </p:nvSpPr>
        <p:spPr>
          <a:xfrm>
            <a:off x="4647413" y="4387852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IN" sz="2000" b="1" dirty="0">
                <a:solidFill>
                  <a:prstClr val="white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501 a 750 cc</a:t>
            </a:r>
          </a:p>
        </p:txBody>
      </p:sp>
      <p:sp>
        <p:nvSpPr>
          <p:cNvPr id="42" name="TextBox 56">
            <a:extLst>
              <a:ext uri="{FF2B5EF4-FFF2-40B4-BE49-F238E27FC236}">
                <a16:creationId xmlns:a16="http://schemas.microsoft.com/office/drawing/2014/main" id="{83BD73B7-5CD6-4AE8-ADB3-B0FF44497B37}"/>
              </a:ext>
            </a:extLst>
          </p:cNvPr>
          <p:cNvSpPr txBox="1"/>
          <p:nvPr/>
        </p:nvSpPr>
        <p:spPr>
          <a:xfrm>
            <a:off x="4653386" y="4761207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IN" sz="2000" b="1" dirty="0">
                <a:solidFill>
                  <a:prstClr val="white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75 a 125 cc</a:t>
            </a:r>
          </a:p>
        </p:txBody>
      </p:sp>
      <p:sp>
        <p:nvSpPr>
          <p:cNvPr id="43" name="TextBox 57">
            <a:extLst>
              <a:ext uri="{FF2B5EF4-FFF2-40B4-BE49-F238E27FC236}">
                <a16:creationId xmlns:a16="http://schemas.microsoft.com/office/drawing/2014/main" id="{08CC561C-BD2E-4D5A-BF0A-0099C444C385}"/>
              </a:ext>
            </a:extLst>
          </p:cNvPr>
          <p:cNvSpPr txBox="1"/>
          <p:nvPr/>
        </p:nvSpPr>
        <p:spPr>
          <a:xfrm>
            <a:off x="4641440" y="5134563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IN" sz="2000" b="1" dirty="0">
                <a:solidFill>
                  <a:prstClr val="white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301 a 500 cc</a:t>
            </a:r>
          </a:p>
        </p:txBody>
      </p:sp>
      <p:sp>
        <p:nvSpPr>
          <p:cNvPr id="44" name="TextBox 66">
            <a:extLst>
              <a:ext uri="{FF2B5EF4-FFF2-40B4-BE49-F238E27FC236}">
                <a16:creationId xmlns:a16="http://schemas.microsoft.com/office/drawing/2014/main" id="{5E8C3B6A-59CC-49E3-9B46-1DE2B6EDD4F6}"/>
              </a:ext>
            </a:extLst>
          </p:cNvPr>
          <p:cNvSpPr txBox="1"/>
          <p:nvPr/>
        </p:nvSpPr>
        <p:spPr>
          <a:xfrm>
            <a:off x="2628161" y="5512499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IN" sz="2000" b="1" dirty="0">
                <a:solidFill>
                  <a:prstClr val="white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13 %</a:t>
            </a:r>
          </a:p>
        </p:txBody>
      </p:sp>
      <p:sp>
        <p:nvSpPr>
          <p:cNvPr id="45" name="TextBox 67">
            <a:extLst>
              <a:ext uri="{FF2B5EF4-FFF2-40B4-BE49-F238E27FC236}">
                <a16:creationId xmlns:a16="http://schemas.microsoft.com/office/drawing/2014/main" id="{94BE5582-9368-4CB4-B9F4-95FC12302C0B}"/>
              </a:ext>
            </a:extLst>
          </p:cNvPr>
          <p:cNvSpPr txBox="1"/>
          <p:nvPr/>
        </p:nvSpPr>
        <p:spPr>
          <a:xfrm>
            <a:off x="4659358" y="5501030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2000" b="1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defRPr>
            </a:lvl1pPr>
          </a:lstStyle>
          <a:p>
            <a:r>
              <a:rPr lang="en-IN" dirty="0"/>
              <a:t>52%</a:t>
            </a:r>
          </a:p>
        </p:txBody>
      </p:sp>
      <p:sp>
        <p:nvSpPr>
          <p:cNvPr id="46" name="TextBox 70">
            <a:extLst>
              <a:ext uri="{FF2B5EF4-FFF2-40B4-BE49-F238E27FC236}">
                <a16:creationId xmlns:a16="http://schemas.microsoft.com/office/drawing/2014/main" id="{C8B835F9-D92D-4A6A-8619-A8BDBBF7DBCC}"/>
              </a:ext>
            </a:extLst>
          </p:cNvPr>
          <p:cNvSpPr txBox="1"/>
          <p:nvPr/>
        </p:nvSpPr>
        <p:spPr>
          <a:xfrm>
            <a:off x="2628161" y="5891859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n-IN" sz="2000" b="1" dirty="0">
                <a:solidFill>
                  <a:prstClr val="white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-2.85%</a:t>
            </a:r>
          </a:p>
        </p:txBody>
      </p:sp>
      <p:sp>
        <p:nvSpPr>
          <p:cNvPr id="47" name="TextBox 71">
            <a:extLst>
              <a:ext uri="{FF2B5EF4-FFF2-40B4-BE49-F238E27FC236}">
                <a16:creationId xmlns:a16="http://schemas.microsoft.com/office/drawing/2014/main" id="{4672B786-EA2E-4244-8F11-66302F07CBB0}"/>
              </a:ext>
            </a:extLst>
          </p:cNvPr>
          <p:cNvSpPr txBox="1"/>
          <p:nvPr/>
        </p:nvSpPr>
        <p:spPr>
          <a:xfrm>
            <a:off x="4659358" y="5880390"/>
            <a:ext cx="185255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  <a:latin typeface="Source Sans Pro" pitchFamily="34" charset="0"/>
                <a:ea typeface="Source Sans Pro" pitchFamily="34" charset="0"/>
                <a:cs typeface="Arial" pitchFamily="34" charset="0"/>
              </a:rPr>
              <a:t>25%</a:t>
            </a:r>
          </a:p>
        </p:txBody>
      </p:sp>
      <p:sp>
        <p:nvSpPr>
          <p:cNvPr id="48" name="TextBox 49">
            <a:extLst>
              <a:ext uri="{FF2B5EF4-FFF2-40B4-BE49-F238E27FC236}">
                <a16:creationId xmlns:a16="http://schemas.microsoft.com/office/drawing/2014/main" id="{FC07483E-6F53-493F-A1BE-EBE9FAE5AF9B}"/>
              </a:ext>
            </a:extLst>
          </p:cNvPr>
          <p:cNvSpPr txBox="1"/>
          <p:nvPr/>
        </p:nvSpPr>
        <p:spPr>
          <a:xfrm>
            <a:off x="473841" y="5160731"/>
            <a:ext cx="2104856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itchFamily="34" charset="0"/>
                <a:ea typeface="Source Sans Pro" pitchFamily="34" charset="0"/>
                <a:cs typeface="Arial" pitchFamily="34" charset="0"/>
              </a:rPr>
              <a:t>index[-1]</a:t>
            </a:r>
          </a:p>
        </p:txBody>
      </p:sp>
      <p:sp>
        <p:nvSpPr>
          <p:cNvPr id="50" name="Rectangle 13">
            <a:extLst>
              <a:ext uri="{FF2B5EF4-FFF2-40B4-BE49-F238E27FC236}">
                <a16:creationId xmlns:a16="http://schemas.microsoft.com/office/drawing/2014/main" id="{C0474C14-37C9-4D4D-A8A6-3BAA1A2D076E}"/>
              </a:ext>
            </a:extLst>
          </p:cNvPr>
          <p:cNvSpPr/>
          <p:nvPr/>
        </p:nvSpPr>
        <p:spPr>
          <a:xfrm>
            <a:off x="8213637" y="2209800"/>
            <a:ext cx="3276600" cy="430183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TextBox 20">
            <a:extLst>
              <a:ext uri="{FF2B5EF4-FFF2-40B4-BE49-F238E27FC236}">
                <a16:creationId xmlns:a16="http://schemas.microsoft.com/office/drawing/2014/main" id="{15F139ED-213A-44CC-B50D-2D36CEBD8874}"/>
              </a:ext>
            </a:extLst>
          </p:cNvPr>
          <p:cNvSpPr txBox="1"/>
          <p:nvPr/>
        </p:nvSpPr>
        <p:spPr>
          <a:xfrm>
            <a:off x="8899437" y="1595735"/>
            <a:ext cx="3124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ypothesis</a:t>
            </a:r>
          </a:p>
        </p:txBody>
      </p:sp>
      <p:cxnSp>
        <p:nvCxnSpPr>
          <p:cNvPr id="52" name="Straight Connector 28">
            <a:extLst>
              <a:ext uri="{FF2B5EF4-FFF2-40B4-BE49-F238E27FC236}">
                <a16:creationId xmlns:a16="http://schemas.microsoft.com/office/drawing/2014/main" id="{02C9D412-3854-4FB6-B423-52885E6E36A1}"/>
              </a:ext>
            </a:extLst>
          </p:cNvPr>
          <p:cNvCxnSpPr>
            <a:cxnSpLocks/>
          </p:cNvCxnSpPr>
          <p:nvPr/>
        </p:nvCxnSpPr>
        <p:spPr>
          <a:xfrm>
            <a:off x="8213637" y="4365569"/>
            <a:ext cx="32766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Content Placeholder 4">
            <a:extLst>
              <a:ext uri="{FF2B5EF4-FFF2-40B4-BE49-F238E27FC236}">
                <a16:creationId xmlns:a16="http://schemas.microsoft.com/office/drawing/2014/main" id="{3B6301D9-4C98-4EB9-8EF3-16D5750415E9}"/>
              </a:ext>
            </a:extLst>
          </p:cNvPr>
          <p:cNvSpPr txBox="1">
            <a:spLocks/>
          </p:cNvSpPr>
          <p:nvPr/>
        </p:nvSpPr>
        <p:spPr>
          <a:xfrm>
            <a:off x="8373899" y="2760116"/>
            <a:ext cx="2903337" cy="1055137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More vehic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More touri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Density of citize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55" name="Rounded Rectangle 18">
            <a:extLst>
              <a:ext uri="{FF2B5EF4-FFF2-40B4-BE49-F238E27FC236}">
                <a16:creationId xmlns:a16="http://schemas.microsoft.com/office/drawing/2014/main" id="{5422429B-26E7-4FBE-A6B3-1BB2FAF38F34}"/>
              </a:ext>
            </a:extLst>
          </p:cNvPr>
          <p:cNvSpPr/>
          <p:nvPr/>
        </p:nvSpPr>
        <p:spPr>
          <a:xfrm>
            <a:off x="8765677" y="2305269"/>
            <a:ext cx="2172519" cy="33890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Why Ciutat Vella?</a:t>
            </a:r>
          </a:p>
        </p:txBody>
      </p:sp>
      <p:sp>
        <p:nvSpPr>
          <p:cNvPr id="56" name="Rounded Rectangle 13">
            <a:extLst>
              <a:ext uri="{FF2B5EF4-FFF2-40B4-BE49-F238E27FC236}">
                <a16:creationId xmlns:a16="http://schemas.microsoft.com/office/drawing/2014/main" id="{91147439-AF93-4BEB-B825-7E041624A9F4}"/>
              </a:ext>
            </a:extLst>
          </p:cNvPr>
          <p:cNvSpPr/>
          <p:nvPr/>
        </p:nvSpPr>
        <p:spPr>
          <a:xfrm>
            <a:off x="9009444" y="4504149"/>
            <a:ext cx="1632245" cy="33890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prstClr val="white"/>
                </a:solidFill>
              </a:rPr>
              <a:t>Why &lt; 75 cc</a:t>
            </a:r>
            <a:endParaRPr lang="en-IN" sz="1600" b="1" dirty="0">
              <a:solidFill>
                <a:schemeClr val="bg1"/>
              </a:solidFill>
              <a:latin typeface="Arial" pitchFamily="34" charset="0"/>
              <a:ea typeface="Source Sans Pro" pitchFamily="34" charset="0"/>
              <a:cs typeface="Arial" pitchFamily="34" charset="0"/>
            </a:endParaRPr>
          </a:p>
        </p:txBody>
      </p:sp>
      <p:sp>
        <p:nvSpPr>
          <p:cNvPr id="57" name="Content Placeholder 4">
            <a:extLst>
              <a:ext uri="{FF2B5EF4-FFF2-40B4-BE49-F238E27FC236}">
                <a16:creationId xmlns:a16="http://schemas.microsoft.com/office/drawing/2014/main" id="{0183A1A4-AE41-4569-9A65-9F9567B4DDAA}"/>
              </a:ext>
            </a:extLst>
          </p:cNvPr>
          <p:cNvSpPr txBox="1">
            <a:spLocks/>
          </p:cNvSpPr>
          <p:nvPr/>
        </p:nvSpPr>
        <p:spPr>
          <a:xfrm>
            <a:off x="8400267" y="4896063"/>
            <a:ext cx="2903337" cy="1055137"/>
          </a:xfrm>
          <a:prstGeom prst="rect">
            <a:avLst/>
          </a:prstGeom>
        </p:spPr>
        <p:txBody>
          <a:bodyPr vert="horz" lIns="0" tIns="60949" rIns="0" bIns="60949" rtlCol="0">
            <a:noAutofit/>
          </a:bodyPr>
          <a:lstStyle>
            <a:lvl1pPr marL="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494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8986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480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7973" indent="0" algn="l" defTabSz="121898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0" indent="-342900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prstClr val="white"/>
                </a:solidFill>
                <a:latin typeface="Calibri"/>
              </a:rPr>
              <a:t>Reckless youth (like Pol) </a:t>
            </a:r>
          </a:p>
          <a:p>
            <a:pPr marL="342900" lvl="0" indent="-342900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prstClr val="white"/>
                </a:solidFill>
                <a:latin typeface="Calibri"/>
              </a:rPr>
              <a:t>Most affordable type</a:t>
            </a: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895244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58" name="Rounded Rectangle 13">
            <a:extLst>
              <a:ext uri="{FF2B5EF4-FFF2-40B4-BE49-F238E27FC236}">
                <a16:creationId xmlns:a16="http://schemas.microsoft.com/office/drawing/2014/main" id="{0F40A4D8-3C70-4C2F-B735-2C17883DD393}"/>
              </a:ext>
            </a:extLst>
          </p:cNvPr>
          <p:cNvSpPr/>
          <p:nvPr/>
        </p:nvSpPr>
        <p:spPr>
          <a:xfrm>
            <a:off x="591028" y="1774882"/>
            <a:ext cx="3888000" cy="33890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solidFill>
                  <a:schemeClr val="bg1"/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Accidents  change 2016 - 2017</a:t>
            </a:r>
          </a:p>
        </p:txBody>
      </p:sp>
      <p:sp>
        <p:nvSpPr>
          <p:cNvPr id="49" name="Arrow: Right 22">
            <a:extLst>
              <a:ext uri="{FF2B5EF4-FFF2-40B4-BE49-F238E27FC236}">
                <a16:creationId xmlns:a16="http://schemas.microsoft.com/office/drawing/2014/main" id="{5F089A13-8C6C-482D-83A6-9AACA74DD7D7}"/>
              </a:ext>
            </a:extLst>
          </p:cNvPr>
          <p:cNvSpPr/>
          <p:nvPr/>
        </p:nvSpPr>
        <p:spPr>
          <a:xfrm>
            <a:off x="6843267" y="4124353"/>
            <a:ext cx="1079945" cy="60004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Rounded Rectangle 13">
            <a:extLst>
              <a:ext uri="{FF2B5EF4-FFF2-40B4-BE49-F238E27FC236}">
                <a16:creationId xmlns:a16="http://schemas.microsoft.com/office/drawing/2014/main" id="{8CB76907-2C88-45BE-AA53-64B655DADADE}"/>
              </a:ext>
            </a:extLst>
          </p:cNvPr>
          <p:cNvSpPr/>
          <p:nvPr/>
        </p:nvSpPr>
        <p:spPr>
          <a:xfrm>
            <a:off x="4664606" y="1768773"/>
            <a:ext cx="1836000" cy="33890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solidFill>
                  <a:schemeClr val="bg1"/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Correlation</a:t>
            </a:r>
          </a:p>
        </p:txBody>
      </p:sp>
      <p:sp>
        <p:nvSpPr>
          <p:cNvPr id="59" name="TextBox 50">
            <a:extLst>
              <a:ext uri="{FF2B5EF4-FFF2-40B4-BE49-F238E27FC236}">
                <a16:creationId xmlns:a16="http://schemas.microsoft.com/office/drawing/2014/main" id="{B58FC426-8A8A-43F2-B716-1D6BE5947951}"/>
              </a:ext>
            </a:extLst>
          </p:cNvPr>
          <p:cNvSpPr txBox="1"/>
          <p:nvPr/>
        </p:nvSpPr>
        <p:spPr>
          <a:xfrm>
            <a:off x="602561" y="2286000"/>
            <a:ext cx="1910451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ource Sans Pro" pitchFamily="34" charset="0"/>
                <a:cs typeface="Arial" pitchFamily="34" charset="0"/>
              </a:rPr>
              <a:t>Rankings</a:t>
            </a:r>
          </a:p>
        </p:txBody>
      </p:sp>
    </p:spTree>
    <p:extLst>
      <p:ext uri="{BB962C8B-B14F-4D97-AF65-F5344CB8AC3E}">
        <p14:creationId xmlns:p14="http://schemas.microsoft.com/office/powerpoint/2010/main" val="3126376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0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5359A7"/>
      </a:accent1>
      <a:accent2>
        <a:srgbClr val="5D9EBC"/>
      </a:accent2>
      <a:accent3>
        <a:srgbClr val="73CB9B"/>
      </a:accent3>
      <a:accent4>
        <a:srgbClr val="A0E13B"/>
      </a:accent4>
      <a:accent5>
        <a:srgbClr val="465866"/>
      </a:accent5>
      <a:accent6>
        <a:srgbClr val="2AA6C9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Custom 10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5359A7"/>
      </a:accent1>
      <a:accent2>
        <a:srgbClr val="5D9EBC"/>
      </a:accent2>
      <a:accent3>
        <a:srgbClr val="73CB9B"/>
      </a:accent3>
      <a:accent4>
        <a:srgbClr val="A0E13B"/>
      </a:accent4>
      <a:accent5>
        <a:srgbClr val="465866"/>
      </a:accent5>
      <a:accent6>
        <a:srgbClr val="2AA6C9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Tema de Office">
  <a:themeElements>
    <a:clrScheme name="Personalizado 6">
      <a:dk1>
        <a:sysClr val="windowText" lastClr="000000"/>
      </a:dk1>
      <a:lt1>
        <a:sysClr val="window" lastClr="FFFFFF"/>
      </a:lt1>
      <a:dk2>
        <a:srgbClr val="194780"/>
      </a:dk2>
      <a:lt2>
        <a:srgbClr val="838ABD"/>
      </a:lt2>
      <a:accent1>
        <a:srgbClr val="194780"/>
      </a:accent1>
      <a:accent2>
        <a:srgbClr val="4C8CDC"/>
      </a:accent2>
      <a:accent3>
        <a:srgbClr val="C3D9F3"/>
      </a:accent3>
      <a:accent4>
        <a:srgbClr val="F2F2F2"/>
      </a:accent4>
      <a:accent5>
        <a:srgbClr val="BFBFBF"/>
      </a:accent5>
      <a:accent6>
        <a:srgbClr val="7F7F7F"/>
      </a:accent6>
      <a:hlink>
        <a:srgbClr val="194780"/>
      </a:hlink>
      <a:folHlink>
        <a:srgbClr val="4C8CD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bg1">
              <a:lumMod val="75000"/>
            </a:schemeClr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200" dirty="0" err="1" smtClean="0">
            <a:solidFill>
              <a:schemeClr val="accent6">
                <a:lumMod val="75000"/>
              </a:schemeClr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472</TotalTime>
  <Words>777</Words>
  <Application>Microsoft Office PowerPoint</Application>
  <PresentationFormat>Personalizado</PresentationFormat>
  <Paragraphs>215</Paragraphs>
  <Slides>11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1</vt:i4>
      </vt:variant>
    </vt:vector>
  </HeadingPairs>
  <TitlesOfParts>
    <vt:vector size="20" baseType="lpstr">
      <vt:lpstr>Arial</vt:lpstr>
      <vt:lpstr>Calibri</vt:lpstr>
      <vt:lpstr>Georgia</vt:lpstr>
      <vt:lpstr>Helvetica Neue</vt:lpstr>
      <vt:lpstr>Source Sans Pro</vt:lpstr>
      <vt:lpstr>Office Theme</vt:lpstr>
      <vt:lpstr>1_Office Theme</vt:lpstr>
      <vt:lpstr>2_Tema de Office</vt:lpstr>
      <vt:lpstr>think-cell Slide</vt:lpstr>
      <vt:lpstr>Transportation Dataset Analysis  3rd July 2020     Barcelona</vt:lpstr>
      <vt:lpstr>Our Team </vt:lpstr>
      <vt:lpstr>Agenda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Model PowerPoint Wide</dc:title>
  <dc:creator>Julian</dc:creator>
  <cp:lastModifiedBy>Deguchi Hayashi, Felipe Yuji</cp:lastModifiedBy>
  <cp:revision>501</cp:revision>
  <dcterms:created xsi:type="dcterms:W3CDTF">2013-09-12T13:05:01Z</dcterms:created>
  <dcterms:modified xsi:type="dcterms:W3CDTF">2020-07-03T12:50:31Z</dcterms:modified>
</cp:coreProperties>
</file>